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theme/theme3.xml" ContentType="application/vnd.openxmlformats-officedocument.theme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heme/theme4.xml" ContentType="application/vnd.openxmlformats-officedocument.theme+xml"/>
  <Override PartName="/ppt/theme/theme5.xml" ContentType="application/vnd.openxmlformats-officedocument.them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51" r:id="rId4"/>
    <p:sldMasterId id="2147483817" r:id="rId5"/>
    <p:sldMasterId id="2147483824" r:id="rId6"/>
  </p:sldMasterIdLst>
  <p:notesMasterIdLst>
    <p:notesMasterId r:id="rId10"/>
  </p:notesMasterIdLst>
  <p:handoutMasterIdLst>
    <p:handoutMasterId r:id="rId11"/>
  </p:handoutMasterIdLst>
  <p:sldIdLst>
    <p:sldId id="546" r:id="rId7"/>
    <p:sldId id="2141411554" r:id="rId8"/>
    <p:sldId id="2141411444" r:id="rId9"/>
  </p:sldIdLst>
  <p:sldSz cx="12192000" cy="6858000"/>
  <p:notesSz cx="6670675" cy="9777413"/>
  <p:custDataLst>
    <p:tags r:id="rId12"/>
  </p:custDataLst>
  <p:defaultTextStyle>
    <a:defPPr>
      <a:defRPr lang="en-GB"/>
    </a:defPPr>
    <a:lvl1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 b="1">
        <a:solidFill>
          <a:schemeClr val="accent1"/>
        </a:solidFill>
        <a:latin typeface="+mn-lt"/>
        <a:ea typeface="+mn-ea"/>
        <a:cs typeface="+mn-cs"/>
      </a:defRPr>
    </a:lvl1pPr>
    <a:lvl2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2400">
        <a:solidFill>
          <a:schemeClr val="tx1"/>
        </a:solidFill>
        <a:latin typeface="+mn-lt"/>
        <a:ea typeface="+mn-ea"/>
      </a:defRPr>
    </a:lvl2pPr>
    <a:lvl3pPr marL="359991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•"/>
      <a:defRPr sz="2400">
        <a:solidFill>
          <a:schemeClr val="tx1"/>
        </a:solidFill>
        <a:latin typeface="+mn-lt"/>
        <a:ea typeface="+mn-ea"/>
      </a:defRPr>
    </a:lvl3pPr>
    <a:lvl4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-"/>
      <a:defRPr sz="2400">
        <a:solidFill>
          <a:schemeClr val="tx1"/>
        </a:solidFill>
        <a:latin typeface="+mn-lt"/>
        <a:ea typeface="+mn-ea"/>
      </a:defRPr>
    </a:lvl4pPr>
    <a:lvl5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Arial" panose="020B0604020202020204" pitchFamily="34" charset="0"/>
      <a:buChar char="◦"/>
      <a:defRPr sz="2400">
        <a:solidFill>
          <a:schemeClr val="tx1"/>
        </a:solidFill>
        <a:latin typeface="+mn-lt"/>
        <a:ea typeface="+mn-ea"/>
      </a:defRPr>
    </a:lvl5pPr>
    <a:lvl6pPr marL="0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rabicPeriod"/>
      <a:defRPr sz="2400">
        <a:solidFill>
          <a:schemeClr val="tx1"/>
        </a:solidFill>
        <a:latin typeface="+mn-lt"/>
        <a:ea typeface="+mn-ea"/>
      </a:defRPr>
    </a:lvl6pPr>
    <a:lvl7pPr marL="719982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alphaLcPeriod"/>
      <a:defRPr sz="2400">
        <a:solidFill>
          <a:schemeClr val="tx1"/>
        </a:solidFill>
        <a:latin typeface="+mn-lt"/>
        <a:ea typeface="+mn-ea"/>
      </a:defRPr>
    </a:lvl7pPr>
    <a:lvl8pPr marL="1079973" indent="-359991" algn="l" rtl="0" eaLnBrk="1" fontAlgn="base" hangingPunct="1">
      <a:spcBef>
        <a:spcPct val="0"/>
      </a:spcBef>
      <a:spcAft>
        <a:spcPts val="800"/>
      </a:spcAft>
      <a:buClr>
        <a:schemeClr val="accent1"/>
      </a:buClr>
      <a:buFont typeface="+mj-lt"/>
      <a:buAutoNum type="romanLcPeriod"/>
      <a:defRPr sz="2400">
        <a:solidFill>
          <a:schemeClr val="tx1"/>
        </a:solidFill>
        <a:latin typeface="+mn-lt"/>
        <a:ea typeface="+mn-ea"/>
      </a:defRPr>
    </a:lvl8pPr>
    <a:lvl9pPr marL="0" indent="0" algn="l" rtl="0" eaLnBrk="1" fontAlgn="base" hangingPunct="1">
      <a:spcBef>
        <a:spcPct val="0"/>
      </a:spcBef>
      <a:spcAft>
        <a:spcPts val="800"/>
      </a:spcAft>
      <a:buClr>
        <a:schemeClr val="tx1"/>
      </a:buClr>
      <a:buFontTx/>
      <a:buNone/>
      <a:defRPr sz="3200">
        <a:solidFill>
          <a:schemeClr val="accent2"/>
        </a:solidFill>
        <a:latin typeface="+mn-lt"/>
        <a:ea typeface="+mn-ea"/>
      </a:defRPr>
    </a:lvl9pPr>
  </p:defaultTextStyle>
  <p:extLst>
    <p:ext uri="{EFAFB233-063F-42B5-8137-9DF3F51BA10A}">
      <p15:sldGuideLst xmlns:p15="http://schemas.microsoft.com/office/powerpoint/2012/main">
        <p15:guide id="1" orient="horz" pos="1711" userDrawn="1">
          <p15:clr>
            <a:srgbClr val="A4A3A4"/>
          </p15:clr>
        </p15:guide>
        <p15:guide id="2" pos="1329" userDrawn="1">
          <p15:clr>
            <a:srgbClr val="A4A3A4"/>
          </p15:clr>
        </p15:guide>
        <p15:guide id="3" orient="horz" pos="4009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Zarah McGugan" initials="ZM" lastIdx="2" clrIdx="0"/>
  <p:cmAuthor id="2" name="Klein, Alexander" initials="KA" lastIdx="14" clrIdx="1">
    <p:extLst>
      <p:ext uri="{19B8F6BF-5375-455C-9EA6-DF929625EA0E}">
        <p15:presenceInfo xmlns:p15="http://schemas.microsoft.com/office/powerpoint/2012/main" userId="S::Alexander.Klein@us.nationalgrid.com::84404c71-b403-4d87-83a8-1ddda009c8b4" providerId="AD"/>
      </p:ext>
    </p:extLst>
  </p:cmAuthor>
  <p:cmAuthor id="3" name="Semal, Clara" initials="SC" lastIdx="87" clrIdx="2">
    <p:extLst>
      <p:ext uri="{19B8F6BF-5375-455C-9EA6-DF929625EA0E}">
        <p15:presenceInfo xmlns:p15="http://schemas.microsoft.com/office/powerpoint/2012/main" userId="S::clara.semal@uk.nationalgrid.com::5435f734-6afc-41a4-b770-4d57144dff8a" providerId="AD"/>
      </p:ext>
    </p:extLst>
  </p:cmAuthor>
  <p:cmAuthor id="4" name="McCormick, Terry" initials="MT" lastIdx="5" clrIdx="3">
    <p:extLst>
      <p:ext uri="{19B8F6BF-5375-455C-9EA6-DF929625EA0E}">
        <p15:presenceInfo xmlns:p15="http://schemas.microsoft.com/office/powerpoint/2012/main" userId="S::Terry.McCormick@uk.nationalgrid.com::6d75a41a-2cb9-4f4b-a72a-33ccbcd32c9d" providerId="AD"/>
      </p:ext>
    </p:extLst>
  </p:cmAuthor>
  <p:cmAuthor id="5" name="Schulte, Alexander" initials="SA" lastIdx="2" clrIdx="4">
    <p:extLst>
      <p:ext uri="{19B8F6BF-5375-455C-9EA6-DF929625EA0E}">
        <p15:presenceInfo xmlns:p15="http://schemas.microsoft.com/office/powerpoint/2012/main" userId="S::Alexander.Schulte@us.nationalgrid.com::a8a45f41-271c-4ce4-abf8-f9c5e76b14d7" providerId="AD"/>
      </p:ext>
    </p:extLst>
  </p:cmAuthor>
  <p:cmAuthor id="6" name="Hanson, Kevin" initials="HK" lastIdx="1" clrIdx="5">
    <p:extLst>
      <p:ext uri="{19B8F6BF-5375-455C-9EA6-DF929625EA0E}">
        <p15:presenceInfo xmlns:p15="http://schemas.microsoft.com/office/powerpoint/2012/main" userId="S::Kevin.Hanson@us.nationalgrid.com::e60c6aad-8614-4884-8dc2-e8f78e5022b5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prnPr/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660033"/>
    <a:srgbClr val="A50021"/>
    <a:srgbClr val="50DBE6"/>
    <a:srgbClr val="125F7A"/>
    <a:srgbClr val="EEB0AE"/>
    <a:srgbClr val="DF7F7F"/>
    <a:srgbClr val="D65959"/>
    <a:srgbClr val="E58583"/>
    <a:srgbClr val="C00000"/>
    <a:srgbClr val="FFD29C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96"/>
    </p:ext>
    <p:ext uri="{FD5EFAAD-0ECE-453E-9831-46B23BE46B34}">
      <p15:chartTrackingRefBased xmlns:p15="http://schemas.microsoft.com/office/powerpoint/2012/main" val="0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11853668-8763-4009-B880-3881D2F7F78D}" v="3" dt="2024-04-24T17:21:28.709"/>
  </p1510:revLst>
</p1510:revInfo>
</file>

<file path=ppt/tableStyles.xml><?xml version="1.0" encoding="utf-8"?>
<a:tblStyleLst xmlns:a="http://schemas.openxmlformats.org/drawingml/2006/main" def="{5C22544A-7EE6-4342-B048-85BDC9FD1C3A}">
  <a:tblStyle styleId="{2D5ABB26-0587-4C30-8999-92F81FD0307C}" styleName="No Style, No Grid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93296810-A885-4BE3-A3E7-6D5BEEA58F35}" styleName="Medium Style 2 - Accent 6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6">
              <a:tint val="20000"/>
            </a:schemeClr>
          </a:solidFill>
        </a:fill>
      </a:tcStyle>
    </a:wholeTbl>
    <a:band1H>
      <a:tcStyle>
        <a:tcBdr/>
        <a:fill>
          <a:solidFill>
            <a:schemeClr val="accent6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6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6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6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6"/>
          </a:solidFill>
        </a:fill>
      </a:tcStyle>
    </a:firstRow>
  </a:tblStyle>
  <a:tblStyle styleId="{073A0DAA-6AF3-43AB-8588-CEC1D06C72B9}" styleName="Medium Style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dk1">
              <a:tint val="20000"/>
            </a:schemeClr>
          </a:solidFill>
        </a:fill>
      </a:tcStyle>
    </a:wholeTbl>
    <a:band1H>
      <a:tcStyle>
        <a:tcBdr/>
        <a:fill>
          <a:solidFill>
            <a:schemeClr val="dk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dk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dk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dk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465" autoAdjust="0"/>
    <p:restoredTop sz="94660"/>
  </p:normalViewPr>
  <p:slideViewPr>
    <p:cSldViewPr snapToGrid="0">
      <p:cViewPr varScale="1">
        <p:scale>
          <a:sx n="121" d="100"/>
          <a:sy n="121" d="100"/>
        </p:scale>
        <p:origin x="90" y="96"/>
      </p:cViewPr>
      <p:guideLst>
        <p:guide orient="horz" pos="1711"/>
        <p:guide pos="1329"/>
        <p:guide orient="horz" pos="4009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commentAuthors" Target="commentAuthors.xml"/><Relationship Id="rId18" Type="http://schemas.microsoft.com/office/2016/11/relationships/changesInfo" Target="changesInfos/changesInfo1.xml"/><Relationship Id="rId3" Type="http://schemas.openxmlformats.org/officeDocument/2006/relationships/customXml" Target="../customXml/item3.xml"/><Relationship Id="rId7" Type="http://schemas.openxmlformats.org/officeDocument/2006/relationships/slide" Target="slides/slide1.xml"/><Relationship Id="rId12" Type="http://schemas.openxmlformats.org/officeDocument/2006/relationships/tags" Target="tags/tag1.xml"/><Relationship Id="rId17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viewProps" Target="viewProps.xml"/><Relationship Id="rId10" Type="http://schemas.openxmlformats.org/officeDocument/2006/relationships/notesMaster" Target="notesMasters/notesMaster1.xml"/><Relationship Id="rId19" Type="http://schemas.microsoft.com/office/2015/10/relationships/revisionInfo" Target="revisionInfo.xml"/><Relationship Id="rId4" Type="http://schemas.openxmlformats.org/officeDocument/2006/relationships/slideMaster" Target="slideMasters/slideMaster1.xml"/><Relationship Id="rId9" Type="http://schemas.openxmlformats.org/officeDocument/2006/relationships/slide" Target="slides/slide3.xml"/><Relationship Id="rId14" Type="http://schemas.openxmlformats.org/officeDocument/2006/relationships/presProps" Target="pres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Kevin Hanson" userId="e60c6aad-8614-4884-8dc2-e8f78e5022b5" providerId="ADAL" clId="{F0BDB71A-7BED-46EC-B1DF-9AC7FC6C5192}"/>
    <pc:docChg chg="modSld">
      <pc:chgData name="Kevin Hanson" userId="e60c6aad-8614-4884-8dc2-e8f78e5022b5" providerId="ADAL" clId="{F0BDB71A-7BED-46EC-B1DF-9AC7FC6C5192}" dt="2024-04-01T14:25:54.278" v="0" actId="20577"/>
      <pc:docMkLst>
        <pc:docMk/>
      </pc:docMkLst>
      <pc:sldChg chg="modSp mod">
        <pc:chgData name="Kevin Hanson" userId="e60c6aad-8614-4884-8dc2-e8f78e5022b5" providerId="ADAL" clId="{F0BDB71A-7BED-46EC-B1DF-9AC7FC6C5192}" dt="2024-04-01T14:25:54.278" v="0" actId="20577"/>
        <pc:sldMkLst>
          <pc:docMk/>
          <pc:sldMk cId="1719432851" sldId="2141411573"/>
        </pc:sldMkLst>
        <pc:spChg chg="mod">
          <ac:chgData name="Kevin Hanson" userId="e60c6aad-8614-4884-8dc2-e8f78e5022b5" providerId="ADAL" clId="{F0BDB71A-7BED-46EC-B1DF-9AC7FC6C5192}" dt="2024-04-01T14:25:54.278" v="0" actId="20577"/>
          <ac:spMkLst>
            <pc:docMk/>
            <pc:sldMk cId="1719432851" sldId="2141411573"/>
            <ac:spMk id="3" creationId="{0DC0400C-A95B-4F6A-91D7-9F32927DA9E1}"/>
          </ac:spMkLst>
        </pc:spChg>
      </pc:sldChg>
    </pc:docChg>
  </pc:docChgLst>
  <pc:docChgLst>
    <pc:chgData name="Kevin Hanson" userId="e60c6aad-8614-4884-8dc2-e8f78e5022b5" providerId="ADAL" clId="{352A2463-F71D-4DE2-8335-E7EA5C09F2E7}"/>
    <pc:docChg chg="modSld">
      <pc:chgData name="Kevin Hanson" userId="e60c6aad-8614-4884-8dc2-e8f78e5022b5" providerId="ADAL" clId="{352A2463-F71D-4DE2-8335-E7EA5C09F2E7}" dt="2024-04-02T20:37:07.551" v="5" actId="1076"/>
      <pc:docMkLst>
        <pc:docMk/>
      </pc:docMkLst>
      <pc:sldChg chg="modSp mod">
        <pc:chgData name="Kevin Hanson" userId="e60c6aad-8614-4884-8dc2-e8f78e5022b5" providerId="ADAL" clId="{352A2463-F71D-4DE2-8335-E7EA5C09F2E7}" dt="2024-04-02T20:37:07.551" v="5" actId="1076"/>
        <pc:sldMkLst>
          <pc:docMk/>
          <pc:sldMk cId="3173487482" sldId="2141411554"/>
        </pc:sldMkLst>
        <pc:spChg chg="mod">
          <ac:chgData name="Kevin Hanson" userId="e60c6aad-8614-4884-8dc2-e8f78e5022b5" providerId="ADAL" clId="{352A2463-F71D-4DE2-8335-E7EA5C09F2E7}" dt="2024-04-02T20:37:07.551" v="5" actId="1076"/>
          <ac:spMkLst>
            <pc:docMk/>
            <pc:sldMk cId="3173487482" sldId="2141411554"/>
            <ac:spMk id="3" creationId="{E1F3F72A-850B-4B6D-BB79-4D65474A0470}"/>
          </ac:spMkLst>
        </pc:spChg>
      </pc:sldChg>
    </pc:docChg>
  </pc:docChgLst>
  <pc:docChgLst>
    <pc:chgData name="Kevin Hanson" userId="e60c6aad-8614-4884-8dc2-e8f78e5022b5" providerId="ADAL" clId="{11853668-8763-4009-B880-3881D2F7F78D}"/>
    <pc:docChg chg="modSld">
      <pc:chgData name="Kevin Hanson" userId="e60c6aad-8614-4884-8dc2-e8f78e5022b5" providerId="ADAL" clId="{11853668-8763-4009-B880-3881D2F7F78D}" dt="2024-04-24T17:22:36.621" v="406" actId="20577"/>
      <pc:docMkLst>
        <pc:docMk/>
      </pc:docMkLst>
      <pc:sldChg chg="modSp mod">
        <pc:chgData name="Kevin Hanson" userId="e60c6aad-8614-4884-8dc2-e8f78e5022b5" providerId="ADAL" clId="{11853668-8763-4009-B880-3881D2F7F78D}" dt="2024-04-24T17:15:25.880" v="7" actId="20577"/>
        <pc:sldMkLst>
          <pc:docMk/>
          <pc:sldMk cId="136374311" sldId="546"/>
        </pc:sldMkLst>
        <pc:spChg chg="mod">
          <ac:chgData name="Kevin Hanson" userId="e60c6aad-8614-4884-8dc2-e8f78e5022b5" providerId="ADAL" clId="{11853668-8763-4009-B880-3881D2F7F78D}" dt="2024-04-24T17:15:19.506" v="2" actId="20577"/>
          <ac:spMkLst>
            <pc:docMk/>
            <pc:sldMk cId="136374311" sldId="546"/>
            <ac:spMk id="2" creationId="{00000000-0000-0000-0000-000000000000}"/>
          </ac:spMkLst>
        </pc:spChg>
        <pc:spChg chg="mod">
          <ac:chgData name="Kevin Hanson" userId="e60c6aad-8614-4884-8dc2-e8f78e5022b5" providerId="ADAL" clId="{11853668-8763-4009-B880-3881D2F7F78D}" dt="2024-04-24T17:15:25.880" v="7" actId="20577"/>
          <ac:spMkLst>
            <pc:docMk/>
            <pc:sldMk cId="136374311" sldId="546"/>
            <ac:spMk id="3" creationId="{00000000-0000-0000-0000-000000000000}"/>
          </ac:spMkLst>
        </pc:spChg>
      </pc:sldChg>
      <pc:sldChg chg="modSp mod">
        <pc:chgData name="Kevin Hanson" userId="e60c6aad-8614-4884-8dc2-e8f78e5022b5" providerId="ADAL" clId="{11853668-8763-4009-B880-3881D2F7F78D}" dt="2024-04-24T17:22:36.621" v="406" actId="20577"/>
        <pc:sldMkLst>
          <pc:docMk/>
          <pc:sldMk cId="3173487482" sldId="2141411554"/>
        </pc:sldMkLst>
        <pc:spChg chg="mod">
          <ac:chgData name="Kevin Hanson" userId="e60c6aad-8614-4884-8dc2-e8f78e5022b5" providerId="ADAL" clId="{11853668-8763-4009-B880-3881D2F7F78D}" dt="2024-04-24T17:22:36.621" v="406" actId="20577"/>
          <ac:spMkLst>
            <pc:docMk/>
            <pc:sldMk cId="3173487482" sldId="2141411554"/>
            <ac:spMk id="3" creationId="{E1F3F72A-850B-4B6D-BB79-4D65474A0470}"/>
          </ac:spMkLst>
        </pc:spChg>
      </pc:sldChg>
    </pc:docChg>
  </pc:docChgLst>
  <pc:docChgLst>
    <pc:chgData name="Kevin Hanson" userId="e60c6aad-8614-4884-8dc2-e8f78e5022b5" providerId="ADAL" clId="{B5050B05-E5EF-4261-AB33-5A231DFFA291}"/>
    <pc:docChg chg="modSld">
      <pc:chgData name="Kevin Hanson" userId="e60c6aad-8614-4884-8dc2-e8f78e5022b5" providerId="ADAL" clId="{B5050B05-E5EF-4261-AB33-5A231DFFA291}" dt="2024-04-24T19:55:09.708" v="29" actId="6549"/>
      <pc:docMkLst>
        <pc:docMk/>
      </pc:docMkLst>
      <pc:sldChg chg="modSp mod">
        <pc:chgData name="Kevin Hanson" userId="e60c6aad-8614-4884-8dc2-e8f78e5022b5" providerId="ADAL" clId="{B5050B05-E5EF-4261-AB33-5A231DFFA291}" dt="2024-04-24T19:55:09.708" v="29" actId="6549"/>
        <pc:sldMkLst>
          <pc:docMk/>
          <pc:sldMk cId="3173487482" sldId="2141411554"/>
        </pc:sldMkLst>
        <pc:spChg chg="mod">
          <ac:chgData name="Kevin Hanson" userId="e60c6aad-8614-4884-8dc2-e8f78e5022b5" providerId="ADAL" clId="{B5050B05-E5EF-4261-AB33-5A231DFFA291}" dt="2024-04-24T19:55:09.708" v="29" actId="6549"/>
          <ac:spMkLst>
            <pc:docMk/>
            <pc:sldMk cId="3173487482" sldId="2141411554"/>
            <ac:spMk id="3" creationId="{E1F3F72A-850B-4B6D-BB79-4D65474A0470}"/>
          </ac:spMkLst>
        </pc:spChg>
      </pc:sldChg>
    </pc:docChg>
  </pc:docChgLst>
  <pc:docChgLst>
    <pc:chgData name="Kevin Hanson" userId="e60c6aad-8614-4884-8dc2-e8f78e5022b5" providerId="ADAL" clId="{CA27C128-522C-4354-BA85-E9538BB09376}"/>
    <pc:docChg chg="delSld modSld">
      <pc:chgData name="Kevin Hanson" userId="e60c6aad-8614-4884-8dc2-e8f78e5022b5" providerId="ADAL" clId="{CA27C128-522C-4354-BA85-E9538BB09376}" dt="2024-04-02T20:15:03.955" v="733" actId="20577"/>
      <pc:docMkLst>
        <pc:docMk/>
      </pc:docMkLst>
      <pc:sldChg chg="modSp mod">
        <pc:chgData name="Kevin Hanson" userId="e60c6aad-8614-4884-8dc2-e8f78e5022b5" providerId="ADAL" clId="{CA27C128-522C-4354-BA85-E9538BB09376}" dt="2024-04-02T20:09:30.630" v="41" actId="14100"/>
        <pc:sldMkLst>
          <pc:docMk/>
          <pc:sldMk cId="136374311" sldId="546"/>
        </pc:sldMkLst>
        <pc:spChg chg="mod">
          <ac:chgData name="Kevin Hanson" userId="e60c6aad-8614-4884-8dc2-e8f78e5022b5" providerId="ADAL" clId="{CA27C128-522C-4354-BA85-E9538BB09376}" dt="2024-04-02T20:09:30.630" v="41" actId="14100"/>
          <ac:spMkLst>
            <pc:docMk/>
            <pc:sldMk cId="136374311" sldId="546"/>
            <ac:spMk id="2" creationId="{00000000-0000-0000-0000-000000000000}"/>
          </ac:spMkLst>
        </pc:spChg>
        <pc:spChg chg="mod">
          <ac:chgData name="Kevin Hanson" userId="e60c6aad-8614-4884-8dc2-e8f78e5022b5" providerId="ADAL" clId="{CA27C128-522C-4354-BA85-E9538BB09376}" dt="2024-04-02T20:08:56.080" v="17" actId="6549"/>
          <ac:spMkLst>
            <pc:docMk/>
            <pc:sldMk cId="136374311" sldId="546"/>
            <ac:spMk id="3" creationId="{00000000-0000-0000-0000-000000000000}"/>
          </ac:spMkLst>
        </pc:spChg>
      </pc:sldChg>
      <pc:sldChg chg="modSp mod">
        <pc:chgData name="Kevin Hanson" userId="e60c6aad-8614-4884-8dc2-e8f78e5022b5" providerId="ADAL" clId="{CA27C128-522C-4354-BA85-E9538BB09376}" dt="2024-04-02T20:15:03.955" v="733" actId="20577"/>
        <pc:sldMkLst>
          <pc:docMk/>
          <pc:sldMk cId="3173487482" sldId="2141411554"/>
        </pc:sldMkLst>
        <pc:spChg chg="mod">
          <ac:chgData name="Kevin Hanson" userId="e60c6aad-8614-4884-8dc2-e8f78e5022b5" providerId="ADAL" clId="{CA27C128-522C-4354-BA85-E9538BB09376}" dt="2024-04-02T20:15:03.955" v="733" actId="20577"/>
          <ac:spMkLst>
            <pc:docMk/>
            <pc:sldMk cId="3173487482" sldId="2141411554"/>
            <ac:spMk id="3" creationId="{E1F3F72A-850B-4B6D-BB79-4D65474A0470}"/>
          </ac:spMkLst>
        </pc:spChg>
      </pc:sldChg>
      <pc:sldChg chg="del">
        <pc:chgData name="Kevin Hanson" userId="e60c6aad-8614-4884-8dc2-e8f78e5022b5" providerId="ADAL" clId="{CA27C128-522C-4354-BA85-E9538BB09376}" dt="2024-04-02T20:09:04.548" v="22" actId="47"/>
        <pc:sldMkLst>
          <pc:docMk/>
          <pc:sldMk cId="1697509904" sldId="2141411572"/>
        </pc:sldMkLst>
      </pc:sldChg>
      <pc:sldChg chg="del">
        <pc:chgData name="Kevin Hanson" userId="e60c6aad-8614-4884-8dc2-e8f78e5022b5" providerId="ADAL" clId="{CA27C128-522C-4354-BA85-E9538BB09376}" dt="2024-04-02T20:09:03.992" v="21" actId="47"/>
        <pc:sldMkLst>
          <pc:docMk/>
          <pc:sldMk cId="1719432851" sldId="2141411573"/>
        </pc:sldMkLst>
      </pc:sldChg>
      <pc:sldChg chg="del">
        <pc:chgData name="Kevin Hanson" userId="e60c6aad-8614-4884-8dc2-e8f78e5022b5" providerId="ADAL" clId="{CA27C128-522C-4354-BA85-E9538BB09376}" dt="2024-04-02T20:09:05.435" v="23" actId="47"/>
        <pc:sldMkLst>
          <pc:docMk/>
          <pc:sldMk cId="3248837613" sldId="2141411575"/>
        </pc:sldMkLst>
      </pc:sldChg>
      <pc:sldChg chg="del">
        <pc:chgData name="Kevin Hanson" userId="e60c6aad-8614-4884-8dc2-e8f78e5022b5" providerId="ADAL" clId="{CA27C128-522C-4354-BA85-E9538BB09376}" dt="2024-04-02T20:09:02.285" v="18" actId="47"/>
        <pc:sldMkLst>
          <pc:docMk/>
          <pc:sldMk cId="4102499870" sldId="2141411576"/>
        </pc:sldMkLst>
      </pc:sldChg>
      <pc:sldChg chg="del">
        <pc:chgData name="Kevin Hanson" userId="e60c6aad-8614-4884-8dc2-e8f78e5022b5" providerId="ADAL" clId="{CA27C128-522C-4354-BA85-E9538BB09376}" dt="2024-04-02T20:09:02.789" v="19" actId="47"/>
        <pc:sldMkLst>
          <pc:docMk/>
          <pc:sldMk cId="1764952173" sldId="2141411577"/>
        </pc:sldMkLst>
      </pc:sldChg>
      <pc:sldChg chg="del">
        <pc:chgData name="Kevin Hanson" userId="e60c6aad-8614-4884-8dc2-e8f78e5022b5" providerId="ADAL" clId="{CA27C128-522C-4354-BA85-E9538BB09376}" dt="2024-04-02T20:09:03.350" v="20" actId="47"/>
        <pc:sldMkLst>
          <pc:docMk/>
          <pc:sldMk cId="4099801766" sldId="2141411578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218" name="Rectangle 1026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19" name="Rectangle 1027"/>
          <p:cNvSpPr>
            <a:spLocks noGrp="1" noChangeArrowheads="1"/>
          </p:cNvSpPr>
          <p:nvPr>
            <p:ph type="dt" sz="quarter" idx="1"/>
          </p:nvPr>
        </p:nvSpPr>
        <p:spPr bwMode="auto">
          <a:xfrm>
            <a:off x="3779761" y="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D8211FFE-B3EB-1B4F-A849-3CF65CAE83E6}" type="datetime1">
              <a:rPr lang="en-GB" smtClean="0"/>
              <a:t>24/04/2024</a:t>
            </a:fld>
            <a:endParaRPr lang="en-US"/>
          </a:p>
        </p:txBody>
      </p:sp>
      <p:sp>
        <p:nvSpPr>
          <p:cNvPr id="9220" name="Rectangle 1028"/>
          <p:cNvSpPr>
            <a:spLocks noGrp="1" noChangeArrowheads="1"/>
          </p:cNvSpPr>
          <p:nvPr>
            <p:ph type="ftr" sz="quarter" idx="2"/>
          </p:nvPr>
        </p:nvSpPr>
        <p:spPr bwMode="auto">
          <a:xfrm>
            <a:off x="1" y="9289191"/>
            <a:ext cx="2890916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endParaRPr lang="en-US"/>
          </a:p>
        </p:txBody>
      </p:sp>
      <p:sp>
        <p:nvSpPr>
          <p:cNvPr id="9221" name="Rectangle 1029"/>
          <p:cNvSpPr>
            <a:spLocks noGrp="1" noChangeArrowheads="1"/>
          </p:cNvSpPr>
          <p:nvPr>
            <p:ph type="sldNum" sz="quarter" idx="3"/>
          </p:nvPr>
        </p:nvSpPr>
        <p:spPr bwMode="auto">
          <a:xfrm>
            <a:off x="3779761" y="9289191"/>
            <a:ext cx="2890915" cy="4882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>
                <a:ea typeface="ＭＳ Ｐゴシック" pitchFamily="-105" charset="-128"/>
                <a:cs typeface="+mn-cs"/>
              </a:defRPr>
            </a:lvl1pPr>
          </a:lstStyle>
          <a:p>
            <a:pPr>
              <a:defRPr/>
            </a:pPr>
            <a:fld id="{350ECF5C-888C-41F6-A366-B80CE9FF0D57}" type="slidenum">
              <a:rPr lang="en-GB"/>
              <a:pPr>
                <a:defRPr/>
              </a:pPr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681178333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8546" name="Rectangle 2"/>
          <p:cNvSpPr>
            <a:spLocks noGrp="1" noChangeArrowheads="1"/>
          </p:cNvSpPr>
          <p:nvPr>
            <p:ph type="hdr" sz="quarter"/>
          </p:nvPr>
        </p:nvSpPr>
        <p:spPr bwMode="auto">
          <a:xfrm>
            <a:off x="1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47" name="Rectangle 3"/>
          <p:cNvSpPr>
            <a:spLocks noGrp="1" noChangeArrowheads="1"/>
          </p:cNvSpPr>
          <p:nvPr>
            <p:ph type="dt" idx="1"/>
          </p:nvPr>
        </p:nvSpPr>
        <p:spPr bwMode="auto">
          <a:xfrm>
            <a:off x="3778312" y="1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C31C4EFE-BC34-5643-BA96-233A28E9007A}" type="datetime1">
              <a:rPr lang="en-GB" smtClean="0"/>
              <a:t>24/04/2024</a:t>
            </a:fld>
            <a:endParaRPr lang="en-GB"/>
          </a:p>
        </p:txBody>
      </p:sp>
      <p:sp>
        <p:nvSpPr>
          <p:cNvPr id="108548" name="Rectangle 4"/>
          <p:cNvSpPr>
            <a:spLocks noGrp="1" noRot="1" noChangeAspect="1" noChangeArrowheads="1" noTextEdit="1"/>
          </p:cNvSpPr>
          <p:nvPr>
            <p:ph type="sldImg" idx="2"/>
          </p:nvPr>
        </p:nvSpPr>
        <p:spPr bwMode="auto">
          <a:xfrm>
            <a:off x="77788" y="733425"/>
            <a:ext cx="6515100" cy="3665538"/>
          </a:xfrm>
          <a:prstGeom prst="rect">
            <a:avLst/>
          </a:prstGeom>
          <a:noFill/>
          <a:ln w="9525">
            <a:solidFill>
              <a:srgbClr val="000000"/>
            </a:solidFill>
            <a:miter lim="800000"/>
            <a:headEnd/>
            <a:tailEnd/>
          </a:ln>
          <a:effectLst/>
          <a:extLs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rgbClr val="808080"/>
                  </a:outerShdw>
                </a:effectLst>
              </a14:hiddenEffects>
            </a:ext>
            <a:ext uri="{53640926-AAD7-44D8-BBD7-CCE9431645EC}">
              <a14:shadowObscured xmlns:a14="http://schemas.microsoft.com/office/drawing/2010/main" val="1"/>
            </a:ext>
          </a:extLst>
        </p:spPr>
      </p:sp>
      <p:sp>
        <p:nvSpPr>
          <p:cNvPr id="108549" name="Rectangle 5"/>
          <p:cNvSpPr>
            <a:spLocks noGrp="1" noChangeArrowheads="1"/>
          </p:cNvSpPr>
          <p:nvPr>
            <p:ph type="body" sz="quarter" idx="3"/>
          </p:nvPr>
        </p:nvSpPr>
        <p:spPr bwMode="auto">
          <a:xfrm>
            <a:off x="667358" y="4644596"/>
            <a:ext cx="5335961" cy="4398865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108550" name="Rectangle 6"/>
          <p:cNvSpPr>
            <a:spLocks noGrp="1" noChangeArrowheads="1"/>
          </p:cNvSpPr>
          <p:nvPr>
            <p:ph type="ftr" sz="quarter" idx="4"/>
          </p:nvPr>
        </p:nvSpPr>
        <p:spPr bwMode="auto">
          <a:xfrm>
            <a:off x="1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>
              <a:defRPr sz="1200"/>
            </a:lvl1pPr>
          </a:lstStyle>
          <a:p>
            <a:endParaRPr lang="en-GB"/>
          </a:p>
        </p:txBody>
      </p:sp>
      <p:sp>
        <p:nvSpPr>
          <p:cNvPr id="108551" name="Rectangle 7"/>
          <p:cNvSpPr>
            <a:spLocks noGrp="1" noChangeArrowheads="1"/>
          </p:cNvSpPr>
          <p:nvPr>
            <p:ph type="sldNum" sz="quarter" idx="5"/>
          </p:nvPr>
        </p:nvSpPr>
        <p:spPr bwMode="auto">
          <a:xfrm>
            <a:off x="3778312" y="9287575"/>
            <a:ext cx="2890916" cy="488224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b" anchorCtr="0" compatLnSpc="1">
            <a:prstTxWarp prst="textNoShape">
              <a:avLst/>
            </a:prstTxWarp>
          </a:bodyPr>
          <a:lstStyle>
            <a:lvl1pPr algn="r">
              <a:defRPr sz="1200"/>
            </a:lvl1pPr>
          </a:lstStyle>
          <a:p>
            <a:fld id="{DD779895-3E67-4CB8-BE0C-23F3FD5FF7F3}" type="slidenum">
              <a:rPr lang="en-GB"/>
              <a:pPr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688616298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1pPr>
    <a:lvl2pPr marL="609539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2pPr>
    <a:lvl3pPr marL="1219080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3pPr>
    <a:lvl4pPr marL="182861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4pPr>
    <a:lvl5pPr marL="2438158" algn="l" rtl="0" fontAlgn="base">
      <a:spcBef>
        <a:spcPct val="30000"/>
      </a:spcBef>
      <a:spcAft>
        <a:spcPct val="0"/>
      </a:spcAft>
      <a:defRPr sz="1600" kern="1200">
        <a:solidFill>
          <a:schemeClr val="tx1"/>
        </a:solidFill>
        <a:latin typeface="Arial" charset="0"/>
        <a:ea typeface="+mn-ea"/>
        <a:cs typeface="+mn-cs"/>
      </a:defRPr>
    </a:lvl5pPr>
    <a:lvl6pPr marL="3047696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235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77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313" algn="l" defTabSz="121908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5.png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4.svg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6.png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7.xml"/><Relationship Id="rId1" Type="http://schemas.openxmlformats.org/officeDocument/2006/relationships/tags" Target="../tags/tag6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3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5.png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Relationship Id="rId4" Type="http://schemas.openxmlformats.org/officeDocument/2006/relationships/image" Target="../media/image6.png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3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8.emf"/><Relationship Id="rId4" Type="http://schemas.openxmlformats.org/officeDocument/2006/relationships/oleObject" Target="../embeddings/oleObject5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svg"/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3.xml"/><Relationship Id="rId4" Type="http://schemas.openxmlformats.org/officeDocument/2006/relationships/image" Target="../media/image5.png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37044720"/>
      </p:ext>
    </p:extLst>
  </p:cSld>
  <p:clrMapOvr>
    <a:masterClrMapping/>
  </p:clrMapOvr>
  <p:transition>
    <p:fade/>
  </p:transition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Chart Placeholder 5">
            <a:extLst>
              <a:ext uri="{FF2B5EF4-FFF2-40B4-BE49-F238E27FC236}">
                <a16:creationId xmlns:a16="http://schemas.microsoft.com/office/drawing/2014/main" id="{83EBF3A2-2E7C-4F57-BC5D-3417991A9CB8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12" name="Text Placeholder 3">
            <a:extLst>
              <a:ext uri="{FF2B5EF4-FFF2-40B4-BE49-F238E27FC236}">
                <a16:creationId xmlns:a16="http://schemas.microsoft.com/office/drawing/2014/main" id="{17845B65-2392-4819-94E4-E3EB31C4C457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8"/>
            <a:ext cx="7392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E55748E-1187-40E6-90FF-F8CB13BAB09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1060961F-7E65-4122-8275-120EE663A96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5" name="Group 24">
            <a:extLst>
              <a:ext uri="{FF2B5EF4-FFF2-40B4-BE49-F238E27FC236}">
                <a16:creationId xmlns:a16="http://schemas.microsoft.com/office/drawing/2014/main" id="{5D1AD628-1E99-41AE-A4DE-E8D47E3F2A00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6" name="Guidance note">
              <a:extLst>
                <a:ext uri="{FF2B5EF4-FFF2-40B4-BE49-F238E27FC236}">
                  <a16:creationId xmlns:a16="http://schemas.microsoft.com/office/drawing/2014/main" id="{C3AD16BC-865F-4730-B576-3924C11BBB5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7" name="Group 26">
              <a:extLst>
                <a:ext uri="{FF2B5EF4-FFF2-40B4-BE49-F238E27FC236}">
                  <a16:creationId xmlns:a16="http://schemas.microsoft.com/office/drawing/2014/main" id="{8918825A-E661-4165-AFAF-DF026ACCBF7D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8" name="Picture 3">
                <a:extLst>
                  <a:ext uri="{FF2B5EF4-FFF2-40B4-BE49-F238E27FC236}">
                    <a16:creationId xmlns:a16="http://schemas.microsoft.com/office/drawing/2014/main" id="{D670EEFD-71A1-460B-93B0-010CABE4F6E0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9" name="Rounded Rectangle 20">
                <a:extLst>
                  <a:ext uri="{FF2B5EF4-FFF2-40B4-BE49-F238E27FC236}">
                    <a16:creationId xmlns:a16="http://schemas.microsoft.com/office/drawing/2014/main" id="{518490A9-DA83-4553-86AD-17100E2D20A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1" name="Guidance note">
            <a:extLst>
              <a:ext uri="{FF2B5EF4-FFF2-40B4-BE49-F238E27FC236}">
                <a16:creationId xmlns:a16="http://schemas.microsoft.com/office/drawing/2014/main" id="{00BC0673-5213-4DA3-BE67-C1DB97C4A10F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115501864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9FC37DAF-12F7-4FE3-99E2-B1BC731C4CD1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CEC6E2C5-7988-4109-B04E-4C5B434E0D5F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Chart Placeholder 5">
            <a:extLst>
              <a:ext uri="{FF2B5EF4-FFF2-40B4-BE49-F238E27FC236}">
                <a16:creationId xmlns:a16="http://schemas.microsoft.com/office/drawing/2014/main" id="{59BB4BB1-10D0-4A42-B2B1-1F058F0E5999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8304000" y="1416667"/>
            <a:ext cx="3456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/>
            </a:lvl1pPr>
          </a:lstStyle>
          <a:p>
            <a:endParaRPr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05803B18-A6C4-48D8-9A57-624954E4C42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03A40AB7-029F-4311-80FC-0AAAE2F69DD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FD78705A-DCC5-4C39-8BC7-0071FE0B6E9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C6E2522F-9DAA-41D3-8636-CA2AD6DF26DE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BF8CA62A-2C50-48E5-8954-5C3104C2B475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37ACEAC6-5EC9-49C5-A059-7A0DC1FCC3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13E90BA5-7852-4BC3-A7C6-1D57B4B4776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Guidance note">
            <a:extLst>
              <a:ext uri="{FF2B5EF4-FFF2-40B4-BE49-F238E27FC236}">
                <a16:creationId xmlns:a16="http://schemas.microsoft.com/office/drawing/2014/main" id="{395CA386-D2EE-45ED-B3EB-20DC32FFECC9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06087982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ull chart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3D820A5-9B9A-4B03-84D6-6834D49C12D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4" name="Chart Placeholder 5">
            <a:extLst>
              <a:ext uri="{FF2B5EF4-FFF2-40B4-BE49-F238E27FC236}">
                <a16:creationId xmlns:a16="http://schemas.microsoft.com/office/drawing/2014/main" id="{BB756EA4-8862-4B57-AC57-F64C8CF382CB}"/>
              </a:ext>
            </a:extLst>
          </p:cNvPr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113280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/>
              <a:t> </a:t>
            </a:r>
          </a:p>
        </p:txBody>
      </p:sp>
      <p:sp>
        <p:nvSpPr>
          <p:cNvPr id="6" name="Footer Placeholder 2">
            <a:extLst>
              <a:ext uri="{FF2B5EF4-FFF2-40B4-BE49-F238E27FC236}">
                <a16:creationId xmlns:a16="http://schemas.microsoft.com/office/drawing/2014/main" id="{191E4EDE-F73E-4D47-BE09-9DA6C9935901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12" name="Guidance note">
            <a:extLst>
              <a:ext uri="{FF2B5EF4-FFF2-40B4-BE49-F238E27FC236}">
                <a16:creationId xmlns:a16="http://schemas.microsoft.com/office/drawing/2014/main" id="{DF4D906A-19FE-4A37-9F71-EBD603DB8313}"/>
              </a:ext>
            </a:extLst>
          </p:cNvPr>
          <p:cNvSpPr/>
          <p:nvPr userDrawn="1"/>
        </p:nvSpPr>
        <p:spPr>
          <a:xfrm>
            <a:off x="12275233" y="1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2411924247"/>
      </p:ext>
    </p:extLst>
  </p:cSld>
  <p:clrMapOvr>
    <a:masterClrMapping/>
  </p:clrMapOvr>
  <p:transition>
    <p:fade/>
  </p:transition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+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Chart Placeholder 5"/>
          <p:cNvSpPr>
            <a:spLocks noGrp="1"/>
          </p:cNvSpPr>
          <p:nvPr>
            <p:ph type="chart" sz="quarter" idx="15" hasCustomPrompt="1"/>
          </p:nvPr>
        </p:nvSpPr>
        <p:spPr>
          <a:xfrm>
            <a:off x="431800" y="1416667"/>
            <a:ext cx="7391400" cy="4605251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endParaRPr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64AF0A20-4521-4105-B244-E4D7D8DC46D9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4F3D2E9-D3DF-4073-8942-F51EDC9F9BC9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7" name="Footer Placeholder 2">
            <a:extLst>
              <a:ext uri="{FF2B5EF4-FFF2-40B4-BE49-F238E27FC236}">
                <a16:creationId xmlns:a16="http://schemas.microsoft.com/office/drawing/2014/main" id="{B8E8D2DA-923C-46FD-AE23-D8997A885C17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554C5F39-EE55-4150-AE38-A7A999F3BA25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025D7FB3-CF69-4E08-8922-003EB4E3975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528045C4-A569-4BC0-A2C6-680DA682611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0FD70A2C-539C-4A23-AF36-00B08ACFA1A3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A36B5CC0-766A-45B5-97A8-7C56DFCFC8EE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9" name="Guidance note">
            <a:extLst>
              <a:ext uri="{FF2B5EF4-FFF2-40B4-BE49-F238E27FC236}">
                <a16:creationId xmlns:a16="http://schemas.microsoft.com/office/drawing/2014/main" id="{9FC3F62A-60AD-47BF-8C6C-EA4FD3505A95}"/>
              </a:ext>
            </a:extLst>
          </p:cNvPr>
          <p:cNvSpPr/>
          <p:nvPr userDrawn="1"/>
        </p:nvSpPr>
        <p:spPr>
          <a:xfrm>
            <a:off x="12275233" y="2890202"/>
            <a:ext cx="2706315" cy="1328044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48000" tIns="48000" rIns="48000" bIns="48000" rtlCol="0" anchor="t" anchorCtr="0">
            <a:spAutoFit/>
          </a:bodyPr>
          <a:lstStyle/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nsert a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chart icon and select the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On the Insert tab choose ‘Chart’ and from the available options choose the type of chart you requir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rmat the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the chart title text box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source and notes</a:t>
            </a:r>
          </a:p>
          <a:p>
            <a:pPr marL="0" marR="0" lvl="2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472C4"/>
              </a:buClr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e existing chart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existing chart and delet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steps for inserting a chart above</a:t>
            </a:r>
          </a:p>
        </p:txBody>
      </p:sp>
    </p:spTree>
    <p:extLst>
      <p:ext uri="{BB962C8B-B14F-4D97-AF65-F5344CB8AC3E}">
        <p14:creationId xmlns:p14="http://schemas.microsoft.com/office/powerpoint/2010/main" val="325295718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3">
            <a:extLst>
              <a:ext uri="{FF2B5EF4-FFF2-40B4-BE49-F238E27FC236}">
                <a16:creationId xmlns:a16="http://schemas.microsoft.com/office/drawing/2014/main" id="{F5B49068-D080-4ACE-BA89-F101FF74DD61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1" name="Text Placeholder 4">
            <a:extLst>
              <a:ext uri="{FF2B5EF4-FFF2-40B4-BE49-F238E27FC236}">
                <a16:creationId xmlns:a16="http://schemas.microsoft.com/office/drawing/2014/main" id="{A230DD3F-5BD6-47DB-88DD-B17645228A05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cxnSp>
        <p:nvCxnSpPr>
          <p:cNvPr id="10" name="Straight Connector 9">
            <a:extLst>
              <a:ext uri="{FF2B5EF4-FFF2-40B4-BE49-F238E27FC236}">
                <a16:creationId xmlns:a16="http://schemas.microsoft.com/office/drawing/2014/main" id="{AE5F1110-D46C-45FE-84D5-25150A01F2E3}"/>
              </a:ext>
            </a:extLst>
          </p:cNvPr>
          <p:cNvCxnSpPr>
            <a:cxnSpLocks/>
          </p:cNvCxnSpPr>
          <p:nvPr userDrawn="1"/>
        </p:nvCxnSpPr>
        <p:spPr>
          <a:xfrm>
            <a:off x="431800" y="2957420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E544F918-5B29-4CA8-B698-287CEE5C6122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1" y="1416000"/>
            <a:ext cx="1325715" cy="1440000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12" name="Text Placeholder 10">
            <a:extLst>
              <a:ext uri="{FF2B5EF4-FFF2-40B4-BE49-F238E27FC236}">
                <a16:creationId xmlns:a16="http://schemas.microsoft.com/office/drawing/2014/main" id="{DC926757-B24B-4CFA-A750-5FFEEEF69A80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3081529"/>
            <a:ext cx="3456517" cy="146719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867"/>
            </a:lvl1pPr>
            <a:lvl2pPr>
              <a:spcBef>
                <a:spcPts val="0"/>
              </a:spcBef>
              <a:spcAft>
                <a:spcPts val="267"/>
              </a:spcAft>
              <a:defRPr sz="18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6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6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6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C341570-0A8C-4A6D-9F75-3FF3D833302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2" name="Footer Placeholder 2">
            <a:extLst>
              <a:ext uri="{FF2B5EF4-FFF2-40B4-BE49-F238E27FC236}">
                <a16:creationId xmlns:a16="http://schemas.microsoft.com/office/drawing/2014/main" id="{65364470-3814-46DA-81B6-9B6ABEDC8B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8" name="Group 27">
            <a:extLst>
              <a:ext uri="{FF2B5EF4-FFF2-40B4-BE49-F238E27FC236}">
                <a16:creationId xmlns:a16="http://schemas.microsoft.com/office/drawing/2014/main" id="{3E9C2C4D-4ACC-4F73-A4B9-04807E3ACA87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9" name="Guidance note">
              <a:extLst>
                <a:ext uri="{FF2B5EF4-FFF2-40B4-BE49-F238E27FC236}">
                  <a16:creationId xmlns:a16="http://schemas.microsoft.com/office/drawing/2014/main" id="{E9DBA4A0-469B-42D9-A384-66D0F7F5CF1C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0" name="Group 29">
              <a:extLst>
                <a:ext uri="{FF2B5EF4-FFF2-40B4-BE49-F238E27FC236}">
                  <a16:creationId xmlns:a16="http://schemas.microsoft.com/office/drawing/2014/main" id="{4F513AB0-B464-432C-96F6-C01AE1AD896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1" name="Picture 3">
                <a:extLst>
                  <a:ext uri="{FF2B5EF4-FFF2-40B4-BE49-F238E27FC236}">
                    <a16:creationId xmlns:a16="http://schemas.microsoft.com/office/drawing/2014/main" id="{69D17DA6-BCD4-4046-9D31-CF5D433902D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2" name="Rounded Rectangle 20">
                <a:extLst>
                  <a:ext uri="{FF2B5EF4-FFF2-40B4-BE49-F238E27FC236}">
                    <a16:creationId xmlns:a16="http://schemas.microsoft.com/office/drawing/2014/main" id="{8B82DBD2-6FB6-4465-9E2D-6DA528C0AEC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3" name="Round Diagonal Corner Rectangle 4">
            <a:extLst>
              <a:ext uri="{FF2B5EF4-FFF2-40B4-BE49-F238E27FC236}">
                <a16:creationId xmlns:a16="http://schemas.microsoft.com/office/drawing/2014/main" id="{CCFF34D1-F27E-4737-B8CF-F9385F2D624E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42215433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V x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F8B2B09D-D81C-4260-912F-CB531B07FB99}"/>
              </a:ext>
            </a:extLst>
          </p:cNvPr>
          <p:cNvCxnSpPr>
            <a:cxnSpLocks/>
          </p:cNvCxnSpPr>
          <p:nvPr userDrawn="1"/>
        </p:nvCxnSpPr>
        <p:spPr>
          <a:xfrm>
            <a:off x="431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7" name="Text Placeholder 10">
            <a:extLst>
              <a:ext uri="{FF2B5EF4-FFF2-40B4-BE49-F238E27FC236}">
                <a16:creationId xmlns:a16="http://schemas.microsoft.com/office/drawing/2014/main" id="{5A143F75-F1B4-412B-A3E2-850CC3D2A54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8" name="Picture Placeholder 4">
            <a:extLst>
              <a:ext uri="{FF2B5EF4-FFF2-40B4-BE49-F238E27FC236}">
                <a16:creationId xmlns:a16="http://schemas.microsoft.com/office/drawing/2014/main" id="{988D91BD-83E2-4D8E-A9D9-FB230B58F4C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431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29" name="Straight Connector 28">
            <a:extLst>
              <a:ext uri="{FF2B5EF4-FFF2-40B4-BE49-F238E27FC236}">
                <a16:creationId xmlns:a16="http://schemas.microsoft.com/office/drawing/2014/main" id="{FC82E8DE-D700-4FDB-B492-FBBE73708601}"/>
              </a:ext>
            </a:extLst>
          </p:cNvPr>
          <p:cNvCxnSpPr>
            <a:cxnSpLocks/>
          </p:cNvCxnSpPr>
          <p:nvPr userDrawn="1"/>
        </p:nvCxnSpPr>
        <p:spPr>
          <a:xfrm>
            <a:off x="4368800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xt Placeholder 10">
            <a:extLst>
              <a:ext uri="{FF2B5EF4-FFF2-40B4-BE49-F238E27FC236}">
                <a16:creationId xmlns:a16="http://schemas.microsoft.com/office/drawing/2014/main" id="{A797DDDD-D10E-4826-9799-F77851FA3A18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68800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1" name="Picture Placeholder 4">
            <a:extLst>
              <a:ext uri="{FF2B5EF4-FFF2-40B4-BE49-F238E27FC236}">
                <a16:creationId xmlns:a16="http://schemas.microsoft.com/office/drawing/2014/main" id="{BE7E812B-C0C2-4E15-A5E1-88C87117715B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4368802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cxnSp>
        <p:nvCxnSpPr>
          <p:cNvPr id="32" name="Straight Connector 31">
            <a:extLst>
              <a:ext uri="{FF2B5EF4-FFF2-40B4-BE49-F238E27FC236}">
                <a16:creationId xmlns:a16="http://schemas.microsoft.com/office/drawing/2014/main" id="{A5E4984C-A870-48D7-A38E-4D226B28CF21}"/>
              </a:ext>
            </a:extLst>
          </p:cNvPr>
          <p:cNvCxnSpPr>
            <a:cxnSpLocks/>
          </p:cNvCxnSpPr>
          <p:nvPr userDrawn="1"/>
        </p:nvCxnSpPr>
        <p:spPr>
          <a:xfrm>
            <a:off x="8303683" y="2748472"/>
            <a:ext cx="3456517" cy="0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ext Placeholder 10">
            <a:extLst>
              <a:ext uri="{FF2B5EF4-FFF2-40B4-BE49-F238E27FC236}">
                <a16:creationId xmlns:a16="http://schemas.microsoft.com/office/drawing/2014/main" id="{D3ACC50D-43D4-45A0-975F-9B408E6BD141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8303683" y="2872581"/>
            <a:ext cx="3456517" cy="1846660"/>
          </a:xfrm>
        </p:spPr>
        <p:txBody>
          <a:bodyPr/>
          <a:lstStyle>
            <a:lvl1pPr>
              <a:spcBef>
                <a:spcPts val="800"/>
              </a:spcBef>
              <a:spcAft>
                <a:spcPts val="0"/>
              </a:spcAft>
              <a:defRPr sz="1867"/>
            </a:lvl1pPr>
            <a:lvl2pPr>
              <a:spcBef>
                <a:spcPts val="800"/>
              </a:spcBef>
              <a:spcAft>
                <a:spcPts val="0"/>
              </a:spcAft>
              <a:defRPr sz="1867"/>
            </a:lvl2pPr>
            <a:lvl3pPr marL="0" indent="0">
              <a:spcBef>
                <a:spcPts val="800"/>
              </a:spcBef>
              <a:spcAft>
                <a:spcPts val="0"/>
              </a:spcAft>
              <a:buFontTx/>
              <a:buNone/>
              <a:defRPr sz="1867"/>
            </a:lvl3pPr>
            <a:lvl4pPr marL="284913" indent="-279958">
              <a:spcBef>
                <a:spcPts val="800"/>
              </a:spcBef>
              <a:spcAft>
                <a:spcPts val="0"/>
              </a:spcAft>
              <a:buFont typeface="Arial" panose="020B0604020202020204" pitchFamily="34" charset="0"/>
              <a:buChar char="•"/>
              <a:defRPr sz="1867"/>
            </a:lvl4pPr>
            <a:lvl5pPr marL="559914" indent="-279958">
              <a:spcBef>
                <a:spcPts val="800"/>
              </a:spcBef>
              <a:spcAft>
                <a:spcPts val="0"/>
              </a:spcAft>
              <a:defRPr sz="1867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B3C3C8F3-419D-4EF9-BB29-AE7F1F1732D1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303685" y="1416001"/>
            <a:ext cx="1119716" cy="1217083"/>
          </a:xfrm>
          <a:solidFill>
            <a:schemeClr val="bg1">
              <a:lumMod val="95000"/>
            </a:schemeClr>
          </a:solidFill>
        </p:spPr>
        <p:txBody>
          <a:bodyPr>
            <a:noAutofit/>
          </a:bodyPr>
          <a:lstStyle>
            <a:lvl1pPr>
              <a:defRPr sz="1561">
                <a:solidFill>
                  <a:schemeClr val="tx1"/>
                </a:solidFill>
              </a:defRPr>
            </a:lvl1pPr>
          </a:lstStyle>
          <a:p>
            <a:r>
              <a:rPr lang="en-US" noProof="0"/>
              <a:t>Click icon to add picture</a:t>
            </a:r>
            <a:endParaRPr lang="en-GB" noProof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0BB4D65-DB5D-4395-AECD-E4A4DD1DC5D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21" name="Text Placeholder 10">
            <a:extLst>
              <a:ext uri="{FF2B5EF4-FFF2-40B4-BE49-F238E27FC236}">
                <a16:creationId xmlns:a16="http://schemas.microsoft.com/office/drawing/2014/main" id="{BD674DDD-BACE-4633-A51D-B34FB33EEC8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1638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3" name="Text Placeholder 10">
            <a:extLst>
              <a:ext uri="{FF2B5EF4-FFF2-40B4-BE49-F238E27FC236}">
                <a16:creationId xmlns:a16="http://schemas.microsoft.com/office/drawing/2014/main" id="{901DDDCC-04BF-4981-893E-E22AFEDF5ACD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5575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24" name="Text Placeholder 10">
            <a:extLst>
              <a:ext uri="{FF2B5EF4-FFF2-40B4-BE49-F238E27FC236}">
                <a16:creationId xmlns:a16="http://schemas.microsoft.com/office/drawing/2014/main" id="{F15142A3-375C-45DF-AF42-2245E24CD465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512300" y="1416000"/>
            <a:ext cx="2250019" cy="1385187"/>
          </a:xfrm>
        </p:spPr>
        <p:txBody>
          <a:bodyPr/>
          <a:lstStyle>
            <a:lvl1pPr>
              <a:spcBef>
                <a:spcPts val="0"/>
              </a:spcBef>
              <a:spcAft>
                <a:spcPts val="267"/>
              </a:spcAft>
              <a:defRPr sz="1467"/>
            </a:lvl1pPr>
            <a:lvl2pPr>
              <a:spcBef>
                <a:spcPts val="0"/>
              </a:spcBef>
              <a:spcAft>
                <a:spcPts val="267"/>
              </a:spcAft>
              <a:defRPr sz="1467">
                <a:solidFill>
                  <a:schemeClr val="accent1"/>
                </a:solidFill>
              </a:defRPr>
            </a:lvl2pPr>
            <a:lvl3pPr marL="0" indent="0">
              <a:spcBef>
                <a:spcPts val="0"/>
              </a:spcBef>
              <a:spcAft>
                <a:spcPts val="267"/>
              </a:spcAft>
              <a:buFontTx/>
              <a:buNone/>
              <a:defRPr sz="1200">
                <a:solidFill>
                  <a:schemeClr val="accent1"/>
                </a:solidFill>
              </a:defRPr>
            </a:lvl3pPr>
            <a:lvl4pPr marL="284913" indent="-279958">
              <a:spcBef>
                <a:spcPts val="0"/>
              </a:spcBef>
              <a:spcAft>
                <a:spcPts val="267"/>
              </a:spcAft>
              <a:buFont typeface="Arial" panose="020B0604020202020204" pitchFamily="34" charset="0"/>
              <a:buChar char="•"/>
              <a:defRPr sz="1200">
                <a:solidFill>
                  <a:schemeClr val="accent1"/>
                </a:solidFill>
              </a:defRPr>
            </a:lvl4pPr>
            <a:lvl5pPr marL="559914" indent="-279958">
              <a:spcBef>
                <a:spcPts val="0"/>
              </a:spcBef>
              <a:spcAft>
                <a:spcPts val="267"/>
              </a:spcAft>
              <a:defRPr sz="1200">
                <a:solidFill>
                  <a:schemeClr val="accent1"/>
                </a:solidFill>
              </a:defRPr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en-GB" noProof="0"/>
          </a:p>
        </p:txBody>
      </p:sp>
      <p:sp>
        <p:nvSpPr>
          <p:cNvPr id="37" name="Footer Placeholder 2">
            <a:extLst>
              <a:ext uri="{FF2B5EF4-FFF2-40B4-BE49-F238E27FC236}">
                <a16:creationId xmlns:a16="http://schemas.microsoft.com/office/drawing/2014/main" id="{45A0E1D1-8595-4E45-A401-A475018540F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43" name="Group 42">
            <a:extLst>
              <a:ext uri="{FF2B5EF4-FFF2-40B4-BE49-F238E27FC236}">
                <a16:creationId xmlns:a16="http://schemas.microsoft.com/office/drawing/2014/main" id="{B815125D-7568-4091-BEEB-35B82C7A282E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44" name="Guidance note">
              <a:extLst>
                <a:ext uri="{FF2B5EF4-FFF2-40B4-BE49-F238E27FC236}">
                  <a16:creationId xmlns:a16="http://schemas.microsoft.com/office/drawing/2014/main" id="{05DADCA8-9F14-4D3E-AEA6-3968A4B99D52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45" name="Group 44">
              <a:extLst>
                <a:ext uri="{FF2B5EF4-FFF2-40B4-BE49-F238E27FC236}">
                  <a16:creationId xmlns:a16="http://schemas.microsoft.com/office/drawing/2014/main" id="{35567F3E-A867-493E-9CDF-6C283ED69F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46" name="Picture 3">
                <a:extLst>
                  <a:ext uri="{FF2B5EF4-FFF2-40B4-BE49-F238E27FC236}">
                    <a16:creationId xmlns:a16="http://schemas.microsoft.com/office/drawing/2014/main" id="{EF71D8E4-9AAD-42D4-BB7D-BD4FF105C456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47" name="Rounded Rectangle 20">
                <a:extLst>
                  <a:ext uri="{FF2B5EF4-FFF2-40B4-BE49-F238E27FC236}">
                    <a16:creationId xmlns:a16="http://schemas.microsoft.com/office/drawing/2014/main" id="{F43BCCBD-E91E-4385-9D1C-933F4A1EFF49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48" name="Round Diagonal Corner Rectangle 4">
            <a:extLst>
              <a:ext uri="{FF2B5EF4-FFF2-40B4-BE49-F238E27FC236}">
                <a16:creationId xmlns:a16="http://schemas.microsoft.com/office/drawing/2014/main" id="{DCC9EC93-F46B-4A7B-8A65-57D85F810085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1567497282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/>
          <a:srcRect l="7480" t="27066" r="32612"/>
          <a:stretch/>
        </p:blipFill>
        <p:spPr>
          <a:xfrm rot="16200000" flipV="1">
            <a:off x="6262073" y="928073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5816916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/>
          <a:srcRect l="7480" t="27066" r="32612"/>
          <a:stretch/>
        </p:blipFill>
        <p:spPr>
          <a:xfrm flipV="1">
            <a:off x="5334000" y="1856146"/>
            <a:ext cx="6858000" cy="5001855"/>
          </a:xfrm>
          <a:prstGeom prst="rect">
            <a:avLst/>
          </a:prstGeom>
        </p:spPr>
      </p:pic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1" y="1411818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1" y="3467400"/>
            <a:ext cx="5378452" cy="697627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GB"/>
              <a:t>Name</a:t>
            </a:r>
          </a:p>
          <a:p>
            <a:pPr lvl="1"/>
            <a:r>
              <a:rPr lang="en-GB"/>
              <a:t>Date</a:t>
            </a:r>
          </a:p>
        </p:txBody>
      </p:sp>
    </p:spTree>
    <p:extLst>
      <p:ext uri="{BB962C8B-B14F-4D97-AF65-F5344CB8AC3E}">
        <p14:creationId xmlns:p14="http://schemas.microsoft.com/office/powerpoint/2010/main" val="3917571559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8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1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2" y="2771098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241525722"/>
      </p:ext>
    </p:extLst>
  </p:cSld>
  <p:clrMapOvr>
    <a:masterClrMapping/>
  </p:clrMapOvr>
  <p:transition>
    <p:fade/>
  </p:transition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1" y="6371168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3200"/>
            </a:p>
          </p:txBody>
        </p:sp>
      </p:grpSp>
    </p:spTree>
    <p:extLst>
      <p:ext uri="{BB962C8B-B14F-4D97-AF65-F5344CB8AC3E}">
        <p14:creationId xmlns:p14="http://schemas.microsoft.com/office/powerpoint/2010/main" val="3455011223"/>
      </p:ext>
    </p:extLst>
  </p:cSld>
  <p:clrMapOvr>
    <a:masterClrMapping/>
  </p:clrMapOvr>
  <p:transition>
    <p:fade/>
  </p:transition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8"/>
            <a:ext cx="73912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5"/>
            <a:ext cx="739282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Footer Placeholder 2">
            <a:extLst>
              <a:ext uri="{FF2B5EF4-FFF2-40B4-BE49-F238E27FC236}">
                <a16:creationId xmlns:a16="http://schemas.microsoft.com/office/drawing/2014/main" id="{A415EBFD-084A-4878-8287-2E1A3FCE8DD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66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7" name="Group 16">
            <a:extLst>
              <a:ext uri="{FF2B5EF4-FFF2-40B4-BE49-F238E27FC236}">
                <a16:creationId xmlns:a16="http://schemas.microsoft.com/office/drawing/2014/main" id="{A308CCAE-A613-4894-962F-B9332D979AE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8" name="Guidance note">
              <a:extLst>
                <a:ext uri="{FF2B5EF4-FFF2-40B4-BE49-F238E27FC236}">
                  <a16:creationId xmlns:a16="http://schemas.microsoft.com/office/drawing/2014/main" id="{753381CB-CFAD-4C37-9043-05C8A52380A7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9" name="Group 18">
              <a:extLst>
                <a:ext uri="{FF2B5EF4-FFF2-40B4-BE49-F238E27FC236}">
                  <a16:creationId xmlns:a16="http://schemas.microsoft.com/office/drawing/2014/main" id="{8FA04F91-854A-4895-BD97-24C8BB928F41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0" name="Picture 3">
                <a:extLst>
                  <a:ext uri="{FF2B5EF4-FFF2-40B4-BE49-F238E27FC236}">
                    <a16:creationId xmlns:a16="http://schemas.microsoft.com/office/drawing/2014/main" id="{9CABB711-E1AB-41A2-A779-C8967E1B901C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6" name="Rounded Rectangle 20">
                <a:extLst>
                  <a:ext uri="{FF2B5EF4-FFF2-40B4-BE49-F238E27FC236}">
                    <a16:creationId xmlns:a16="http://schemas.microsoft.com/office/drawing/2014/main" id="{702CAAD7-0480-4B1D-A46C-986161320307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97860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42964288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32594729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18811164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05D8CDB5-958E-4EBE-8C05-3F9C84B061E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24DC1A31-5068-457A-9EB8-1CE2FB678F7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2535885932"/>
      </p:ext>
    </p:extLst>
  </p:cSld>
  <p:clrMapOvr>
    <a:masterClrMapping/>
  </p:clrMapOvr>
  <p:transition>
    <p:fade/>
  </p:transition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Divid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ext Placeholder 6">
            <a:extLst>
              <a:ext uri="{FF2B5EF4-FFF2-40B4-BE49-F238E27FC236}">
                <a16:creationId xmlns:a16="http://schemas.microsoft.com/office/drawing/2014/main" id="{12C8DA23-E484-4D16-8C50-77D951B51DD4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40259" y="3382039"/>
            <a:ext cx="3365500" cy="1025921"/>
          </a:xfrm>
        </p:spPr>
        <p:txBody>
          <a:bodyPr/>
          <a:lstStyle>
            <a:lvl1pPr>
              <a:spcAft>
                <a:spcPts val="0"/>
              </a:spcAft>
              <a:defRPr lang="en-US" sz="4267" b="1" dirty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spcAft>
                <a:spcPts val="0"/>
              </a:spcAft>
              <a:defRPr lang="en-GB" sz="2400" b="0" dirty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2pPr>
          </a:lstStyle>
          <a:p>
            <a:pPr lvl="0"/>
            <a:r>
              <a:rPr lang="en-GB"/>
              <a:t>Title</a:t>
            </a:r>
          </a:p>
          <a:p>
            <a:pPr lvl="1"/>
            <a:r>
              <a:rPr lang="en-GB"/>
              <a:t>Sub heading</a:t>
            </a:r>
          </a:p>
        </p:txBody>
      </p:sp>
      <p:pic>
        <p:nvPicPr>
          <p:cNvPr id="10" name="Graphic 9">
            <a:extLst>
              <a:ext uri="{FF2B5EF4-FFF2-40B4-BE49-F238E27FC236}">
                <a16:creationId xmlns:a16="http://schemas.microsoft.com/office/drawing/2014/main" id="{B5C1225E-7A2B-4204-8951-1CD60FF303C2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3" name="Text Placeholder 11">
            <a:extLst>
              <a:ext uri="{FF2B5EF4-FFF2-40B4-BE49-F238E27FC236}">
                <a16:creationId xmlns:a16="http://schemas.microsoft.com/office/drawing/2014/main" id="{668417C5-1CE5-43E5-9448-0B5FEF92AE0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423328" y="907122"/>
            <a:ext cx="3464989" cy="2359620"/>
          </a:xfrm>
        </p:spPr>
        <p:txBody>
          <a:bodyPr anchor="b" anchorCtr="0"/>
          <a:lstStyle>
            <a:lvl1pPr>
              <a:defRPr sz="15333">
                <a:solidFill>
                  <a:schemeClr val="bg1"/>
                </a:solidFill>
              </a:defRPr>
            </a:lvl1pPr>
          </a:lstStyle>
          <a:p>
            <a:pPr lvl="0"/>
            <a:r>
              <a:rPr lang="en-GB"/>
              <a:t>1</a:t>
            </a:r>
          </a:p>
        </p:txBody>
      </p:sp>
      <p:pic>
        <p:nvPicPr>
          <p:cNvPr id="14" name="Picture 13"/>
          <p:cNvPicPr>
            <a:picLocks noChangeAspect="1"/>
          </p:cNvPicPr>
          <p:nvPr userDrawn="1"/>
        </p:nvPicPr>
        <p:blipFill rotWithShape="1">
          <a:blip r:embed="rId4"/>
          <a:srcRect r="23305" b="53486"/>
          <a:stretch/>
        </p:blipFill>
        <p:spPr>
          <a:xfrm>
            <a:off x="5855433" y="2771099"/>
            <a:ext cx="6336569" cy="408690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1867745"/>
      </p:ext>
    </p:extLst>
  </p:cSld>
  <p:clrMapOvr>
    <a:masterClrMapping/>
  </p:clrMapOvr>
  <p:transition>
    <p:fade/>
  </p:transition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04184153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Back cover blu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5"/>
          <p:cNvSpPr txBox="1">
            <a:spLocks/>
          </p:cNvSpPr>
          <p:nvPr userDrawn="1"/>
        </p:nvSpPr>
        <p:spPr>
          <a:xfrm>
            <a:off x="11340862" y="6371169"/>
            <a:ext cx="851140" cy="486833"/>
          </a:xfrm>
          <a:prstGeom prst="rect">
            <a:avLst/>
          </a:prstGeom>
        </p:spPr>
        <p:txBody>
          <a:bodyPr anchor="b"/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800" smtClean="0"/>
              <a:pPr/>
              <a:t>‹#›</a:t>
            </a:fld>
            <a:endParaRPr lang="en-GB" sz="800"/>
          </a:p>
        </p:txBody>
      </p:sp>
      <p:grpSp>
        <p:nvGrpSpPr>
          <p:cNvPr id="50" name="Group 49">
            <a:extLst>
              <a:ext uri="{FF2B5EF4-FFF2-40B4-BE49-F238E27FC236}">
                <a16:creationId xmlns:a16="http://schemas.microsoft.com/office/drawing/2014/main" id="{0704F238-3359-468F-8B64-BD992440F212}"/>
              </a:ext>
            </a:extLst>
          </p:cNvPr>
          <p:cNvGrpSpPr/>
          <p:nvPr userDrawn="1"/>
        </p:nvGrpSpPr>
        <p:grpSpPr bwMode="black">
          <a:xfrm>
            <a:off x="2806700" y="2735713"/>
            <a:ext cx="6578600" cy="1386576"/>
            <a:chOff x="2910342" y="325575"/>
            <a:chExt cx="5928968" cy="1249653"/>
          </a:xfrm>
        </p:grpSpPr>
        <p:sp>
          <p:nvSpPr>
            <p:cNvPr id="31" name="Freeform: Shape 30">
              <a:extLst>
                <a:ext uri="{FF2B5EF4-FFF2-40B4-BE49-F238E27FC236}">
                  <a16:creationId xmlns:a16="http://schemas.microsoft.com/office/drawing/2014/main" id="{AFE871AB-CF2E-4DAC-8C2D-963B97B314CA}"/>
                </a:ext>
              </a:extLst>
            </p:cNvPr>
            <p:cNvSpPr/>
            <p:nvPr/>
          </p:nvSpPr>
          <p:spPr bwMode="black">
            <a:xfrm>
              <a:off x="7911705" y="325575"/>
              <a:ext cx="275254" cy="275254"/>
            </a:xfrm>
            <a:custGeom>
              <a:avLst/>
              <a:gdLst>
                <a:gd name="connsiteX0" fmla="*/ 254610 w 275253"/>
                <a:gd name="connsiteY0" fmla="*/ 139003 h 275253"/>
                <a:gd name="connsiteX1" fmla="*/ 136251 w 275253"/>
                <a:gd name="connsiteY1" fmla="*/ 254610 h 275253"/>
                <a:gd name="connsiteX2" fmla="*/ 20644 w 275253"/>
                <a:gd name="connsiteY2" fmla="*/ 139003 h 275253"/>
                <a:gd name="connsiteX3" fmla="*/ 136251 w 275253"/>
                <a:gd name="connsiteY3" fmla="*/ 20644 h 27525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75253" h="275253">
                  <a:moveTo>
                    <a:pt x="254610" y="139003"/>
                  </a:moveTo>
                  <a:lnTo>
                    <a:pt x="136251" y="254610"/>
                  </a:lnTo>
                  <a:lnTo>
                    <a:pt x="20644" y="139003"/>
                  </a:lnTo>
                  <a:lnTo>
                    <a:pt x="136251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2" name="Freeform: Shape 31">
              <a:extLst>
                <a:ext uri="{FF2B5EF4-FFF2-40B4-BE49-F238E27FC236}">
                  <a16:creationId xmlns:a16="http://schemas.microsoft.com/office/drawing/2014/main" id="{BC8C29B9-203B-435B-890E-73A70CA4C81F}"/>
                </a:ext>
              </a:extLst>
            </p:cNvPr>
            <p:cNvSpPr/>
            <p:nvPr/>
          </p:nvSpPr>
          <p:spPr bwMode="black">
            <a:xfrm>
              <a:off x="7947488" y="680652"/>
              <a:ext cx="192678" cy="633084"/>
            </a:xfrm>
            <a:custGeom>
              <a:avLst/>
              <a:gdLst>
                <a:gd name="connsiteX0" fmla="*/ 20644 w 192677"/>
                <a:gd name="connsiteY0" fmla="*/ 20644 h 633083"/>
                <a:gd name="connsiteX1" fmla="*/ 180291 w 192677"/>
                <a:gd name="connsiteY1" fmla="*/ 20644 h 633083"/>
                <a:gd name="connsiteX2" fmla="*/ 180291 w 192677"/>
                <a:gd name="connsiteY2" fmla="*/ 631708 h 633083"/>
                <a:gd name="connsiteX3" fmla="*/ 20644 w 192677"/>
                <a:gd name="connsiteY3" fmla="*/ 631708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92677" h="633083">
                  <a:moveTo>
                    <a:pt x="20644" y="20644"/>
                  </a:moveTo>
                  <a:lnTo>
                    <a:pt x="180291" y="20644"/>
                  </a:lnTo>
                  <a:lnTo>
                    <a:pt x="180291" y="631708"/>
                  </a:lnTo>
                  <a:lnTo>
                    <a:pt x="20644" y="63170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3" name="Freeform: Shape 32">
              <a:extLst>
                <a:ext uri="{FF2B5EF4-FFF2-40B4-BE49-F238E27FC236}">
                  <a16:creationId xmlns:a16="http://schemas.microsoft.com/office/drawing/2014/main" id="{C707B5D5-B821-47CA-933A-D54DC178C7C5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19735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4" name="Freeform: Shape 33">
              <a:extLst>
                <a:ext uri="{FF2B5EF4-FFF2-40B4-BE49-F238E27FC236}">
                  <a16:creationId xmlns:a16="http://schemas.microsoft.com/office/drawing/2014/main" id="{0D58047D-9689-487F-BFF5-02E48B2EA260}"/>
                </a:ext>
              </a:extLst>
            </p:cNvPr>
            <p:cNvSpPr/>
            <p:nvPr/>
          </p:nvSpPr>
          <p:spPr bwMode="black">
            <a:xfrm>
              <a:off x="2910342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5" name="Freeform: Shape 34">
              <a:extLst>
                <a:ext uri="{FF2B5EF4-FFF2-40B4-BE49-F238E27FC236}">
                  <a16:creationId xmlns:a16="http://schemas.microsoft.com/office/drawing/2014/main" id="{2EE19533-4B41-4903-ADFA-1430E5FA3683}"/>
                </a:ext>
              </a:extLst>
            </p:cNvPr>
            <p:cNvSpPr/>
            <p:nvPr/>
          </p:nvSpPr>
          <p:spPr bwMode="black">
            <a:xfrm>
              <a:off x="3488375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3525 w 578033"/>
                <a:gd name="connsiteY16" fmla="*/ 527111 h 660609"/>
                <a:gd name="connsiteX17" fmla="*/ 218827 w 578033"/>
                <a:gd name="connsiteY17" fmla="*/ 648223 h 660609"/>
                <a:gd name="connsiteX18" fmla="*/ 20644 w 578033"/>
                <a:gd name="connsiteY18" fmla="*/ 474813 h 660609"/>
                <a:gd name="connsiteX19" fmla="*/ 337186 w 578033"/>
                <a:gd name="connsiteY19" fmla="*/ 284888 h 660609"/>
                <a:gd name="connsiteX20" fmla="*/ 428020 w 578033"/>
                <a:gd name="connsiteY20" fmla="*/ 205064 h 660609"/>
                <a:gd name="connsiteX21" fmla="*/ 273878 w 578033"/>
                <a:gd name="connsiteY21" fmla="*/ 83952 h 660609"/>
                <a:gd name="connsiteX22" fmla="*/ 116983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3675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2" y="565647"/>
                    <a:pt x="565647" y="562894"/>
                  </a:cubicBezTo>
                  <a:lnTo>
                    <a:pt x="565647" y="623450"/>
                  </a:lnTo>
                  <a:cubicBezTo>
                    <a:pt x="549132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3525" y="527111"/>
                  </a:lnTo>
                  <a:cubicBezTo>
                    <a:pt x="383979" y="604182"/>
                    <a:pt x="331681" y="648223"/>
                    <a:pt x="218827" y="648223"/>
                  </a:cubicBezTo>
                  <a:cubicBezTo>
                    <a:pt x="111478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7186" y="284888"/>
                  </a:cubicBezTo>
                  <a:cubicBezTo>
                    <a:pt x="397742" y="279383"/>
                    <a:pt x="428020" y="271125"/>
                    <a:pt x="428020" y="205064"/>
                  </a:cubicBezTo>
                  <a:cubicBezTo>
                    <a:pt x="428020" y="108725"/>
                    <a:pt x="359206" y="83952"/>
                    <a:pt x="273878" y="83952"/>
                  </a:cubicBezTo>
                  <a:cubicBezTo>
                    <a:pt x="185796" y="83952"/>
                    <a:pt x="119735" y="125240"/>
                    <a:pt x="116983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6" name="Freeform: Shape 35">
              <a:extLst>
                <a:ext uri="{FF2B5EF4-FFF2-40B4-BE49-F238E27FC236}">
                  <a16:creationId xmlns:a16="http://schemas.microsoft.com/office/drawing/2014/main" id="{F72D0F65-4955-4D3B-8293-898EC918883C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7" name="Freeform: Shape 36">
              <a:extLst>
                <a:ext uri="{FF2B5EF4-FFF2-40B4-BE49-F238E27FC236}">
                  <a16:creationId xmlns:a16="http://schemas.microsoft.com/office/drawing/2014/main" id="{AC4826A8-C9E9-49D9-AF7F-E3DC7BD67BD3}"/>
                </a:ext>
              </a:extLst>
            </p:cNvPr>
            <p:cNvSpPr/>
            <p:nvPr/>
          </p:nvSpPr>
          <p:spPr bwMode="black">
            <a:xfrm>
              <a:off x="4077418" y="526510"/>
              <a:ext cx="330305" cy="798236"/>
            </a:xfrm>
            <a:custGeom>
              <a:avLst/>
              <a:gdLst>
                <a:gd name="connsiteX0" fmla="*/ 194054 w 330304"/>
                <a:gd name="connsiteY0" fmla="*/ 196807 h 798236"/>
                <a:gd name="connsiteX1" fmla="*/ 312413 w 330304"/>
                <a:gd name="connsiteY1" fmla="*/ 196807 h 798236"/>
                <a:gd name="connsiteX2" fmla="*/ 312413 w 330304"/>
                <a:gd name="connsiteY2" fmla="*/ 257362 h 798236"/>
                <a:gd name="connsiteX3" fmla="*/ 194054 w 330304"/>
                <a:gd name="connsiteY3" fmla="*/ 257362 h 798236"/>
                <a:gd name="connsiteX4" fmla="*/ 194054 w 330304"/>
                <a:gd name="connsiteY4" fmla="*/ 656480 h 798236"/>
                <a:gd name="connsiteX5" fmla="*/ 251857 w 330304"/>
                <a:gd name="connsiteY5" fmla="*/ 733552 h 798236"/>
                <a:gd name="connsiteX6" fmla="*/ 312413 w 330304"/>
                <a:gd name="connsiteY6" fmla="*/ 730799 h 798236"/>
                <a:gd name="connsiteX7" fmla="*/ 312413 w 330304"/>
                <a:gd name="connsiteY7" fmla="*/ 791355 h 798236"/>
                <a:gd name="connsiteX8" fmla="*/ 249105 w 330304"/>
                <a:gd name="connsiteY8" fmla="*/ 794107 h 798236"/>
                <a:gd name="connsiteX9" fmla="*/ 122488 w 330304"/>
                <a:gd name="connsiteY9" fmla="*/ 661986 h 798236"/>
                <a:gd name="connsiteX10" fmla="*/ 122488 w 330304"/>
                <a:gd name="connsiteY10" fmla="*/ 257362 h 798236"/>
                <a:gd name="connsiteX11" fmla="*/ 20644 w 330304"/>
                <a:gd name="connsiteY11" fmla="*/ 257362 h 798236"/>
                <a:gd name="connsiteX12" fmla="*/ 20644 w 330304"/>
                <a:gd name="connsiteY12" fmla="*/ 196807 h 798236"/>
                <a:gd name="connsiteX13" fmla="*/ 122488 w 330304"/>
                <a:gd name="connsiteY13" fmla="*/ 196807 h 798236"/>
                <a:gd name="connsiteX14" fmla="*/ 122488 w 330304"/>
                <a:gd name="connsiteY14" fmla="*/ 20644 h 798236"/>
                <a:gd name="connsiteX15" fmla="*/ 194054 w 330304"/>
                <a:gd name="connsiteY15" fmla="*/ 20644 h 798236"/>
                <a:gd name="connsiteX16" fmla="*/ 194054 w 330304"/>
                <a:gd name="connsiteY16" fmla="*/ 196807 h 79823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330304" h="798236">
                  <a:moveTo>
                    <a:pt x="194054" y="196807"/>
                  </a:moveTo>
                  <a:lnTo>
                    <a:pt x="312413" y="196807"/>
                  </a:lnTo>
                  <a:lnTo>
                    <a:pt x="312413" y="257362"/>
                  </a:lnTo>
                  <a:lnTo>
                    <a:pt x="194054" y="257362"/>
                  </a:lnTo>
                  <a:lnTo>
                    <a:pt x="194054" y="656480"/>
                  </a:lnTo>
                  <a:cubicBezTo>
                    <a:pt x="194054" y="703274"/>
                    <a:pt x="202312" y="730799"/>
                    <a:pt x="251857" y="733552"/>
                  </a:cubicBezTo>
                  <a:cubicBezTo>
                    <a:pt x="271125" y="733552"/>
                    <a:pt x="293145" y="733552"/>
                    <a:pt x="312413" y="730799"/>
                  </a:cubicBezTo>
                  <a:lnTo>
                    <a:pt x="312413" y="791355"/>
                  </a:lnTo>
                  <a:cubicBezTo>
                    <a:pt x="290393" y="791355"/>
                    <a:pt x="271125" y="794107"/>
                    <a:pt x="249105" y="794107"/>
                  </a:cubicBezTo>
                  <a:cubicBezTo>
                    <a:pt x="152766" y="794107"/>
                    <a:pt x="119735" y="761077"/>
                    <a:pt x="122488" y="661986"/>
                  </a:cubicBezTo>
                  <a:lnTo>
                    <a:pt x="122488" y="257362"/>
                  </a:lnTo>
                  <a:lnTo>
                    <a:pt x="20644" y="257362"/>
                  </a:lnTo>
                  <a:lnTo>
                    <a:pt x="20644" y="196807"/>
                  </a:lnTo>
                  <a:lnTo>
                    <a:pt x="122488" y="196807"/>
                  </a:lnTo>
                  <a:lnTo>
                    <a:pt x="122488" y="20644"/>
                  </a:lnTo>
                  <a:lnTo>
                    <a:pt x="194054" y="20644"/>
                  </a:lnTo>
                  <a:lnTo>
                    <a:pt x="194054" y="19680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8" name="Freeform: Shape 37">
              <a:extLst>
                <a:ext uri="{FF2B5EF4-FFF2-40B4-BE49-F238E27FC236}">
                  <a16:creationId xmlns:a16="http://schemas.microsoft.com/office/drawing/2014/main" id="{9CCCC674-E4E6-46F9-9914-F12E382E2222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853287"/>
            </a:xfrm>
            <a:custGeom>
              <a:avLst/>
              <a:gdLst>
                <a:gd name="connsiteX0" fmla="*/ 20644 w 110101"/>
                <a:gd name="connsiteY0" fmla="*/ 246352 h 853286"/>
                <a:gd name="connsiteX1" fmla="*/ 92210 w 110101"/>
                <a:gd name="connsiteY1" fmla="*/ 246352 h 853286"/>
                <a:gd name="connsiteX2" fmla="*/ 92210 w 110101"/>
                <a:gd name="connsiteY2" fmla="*/ 835395 h 853286"/>
                <a:gd name="connsiteX3" fmla="*/ 20644 w 110101"/>
                <a:gd name="connsiteY3" fmla="*/ 835395 h 853286"/>
                <a:gd name="connsiteX4" fmla="*/ 20644 w 110101"/>
                <a:gd name="connsiteY4" fmla="*/ 246352 h 853286"/>
                <a:gd name="connsiteX5" fmla="*/ 20644 w 110101"/>
                <a:gd name="connsiteY5" fmla="*/ 20644 h 853286"/>
                <a:gd name="connsiteX6" fmla="*/ 92210 w 110101"/>
                <a:gd name="connsiteY6" fmla="*/ 20644 h 853286"/>
                <a:gd name="connsiteX7" fmla="*/ 92210 w 110101"/>
                <a:gd name="connsiteY7" fmla="*/ 136251 h 853286"/>
                <a:gd name="connsiteX8" fmla="*/ 20644 w 110101"/>
                <a:gd name="connsiteY8" fmla="*/ 136251 h 853286"/>
                <a:gd name="connsiteX9" fmla="*/ 20644 w 110101"/>
                <a:gd name="connsiteY9" fmla="*/ 20644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110101" h="853286">
                  <a:moveTo>
                    <a:pt x="20644" y="246352"/>
                  </a:moveTo>
                  <a:lnTo>
                    <a:pt x="92210" y="246352"/>
                  </a:lnTo>
                  <a:lnTo>
                    <a:pt x="92210" y="835395"/>
                  </a:lnTo>
                  <a:lnTo>
                    <a:pt x="20644" y="835395"/>
                  </a:lnTo>
                  <a:lnTo>
                    <a:pt x="20644" y="246352"/>
                  </a:lnTo>
                  <a:close/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lnTo>
                    <a:pt x="20644" y="20644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39" name="Freeform: Shape 38">
              <a:extLst>
                <a:ext uri="{FF2B5EF4-FFF2-40B4-BE49-F238E27FC236}">
                  <a16:creationId xmlns:a16="http://schemas.microsoft.com/office/drawing/2014/main" id="{A53A8048-4F2C-4389-90D8-AD6670C2E937}"/>
                </a:ext>
              </a:extLst>
            </p:cNvPr>
            <p:cNvSpPr/>
            <p:nvPr/>
          </p:nvSpPr>
          <p:spPr bwMode="black">
            <a:xfrm>
              <a:off x="4501309" y="702673"/>
              <a:ext cx="110102" cy="605559"/>
            </a:xfrm>
            <a:custGeom>
              <a:avLst/>
              <a:gdLst>
                <a:gd name="connsiteX0" fmla="*/ 20644 w 110101"/>
                <a:gd name="connsiteY0" fmla="*/ 20644 h 605558"/>
                <a:gd name="connsiteX1" fmla="*/ 92210 w 110101"/>
                <a:gd name="connsiteY1" fmla="*/ 20644 h 605558"/>
                <a:gd name="connsiteX2" fmla="*/ 92210 w 110101"/>
                <a:gd name="connsiteY2" fmla="*/ 609687 h 605558"/>
                <a:gd name="connsiteX3" fmla="*/ 20644 w 110101"/>
                <a:gd name="connsiteY3" fmla="*/ 609687 h 60555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605558">
                  <a:moveTo>
                    <a:pt x="20644" y="20644"/>
                  </a:moveTo>
                  <a:lnTo>
                    <a:pt x="92210" y="20644"/>
                  </a:lnTo>
                  <a:lnTo>
                    <a:pt x="92210" y="609687"/>
                  </a:lnTo>
                  <a:lnTo>
                    <a:pt x="20644" y="609687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0" name="Freeform: Shape 39">
              <a:extLst>
                <a:ext uri="{FF2B5EF4-FFF2-40B4-BE49-F238E27FC236}">
                  <a16:creationId xmlns:a16="http://schemas.microsoft.com/office/drawing/2014/main" id="{91191415-0ECC-4572-B26D-B095FEB85F29}"/>
                </a:ext>
              </a:extLst>
            </p:cNvPr>
            <p:cNvSpPr/>
            <p:nvPr/>
          </p:nvSpPr>
          <p:spPr bwMode="black">
            <a:xfrm>
              <a:off x="4501309" y="476965"/>
              <a:ext cx="110102" cy="137627"/>
            </a:xfrm>
            <a:custGeom>
              <a:avLst/>
              <a:gdLst>
                <a:gd name="connsiteX0" fmla="*/ 20644 w 110101"/>
                <a:gd name="connsiteY0" fmla="*/ 20644 h 137626"/>
                <a:gd name="connsiteX1" fmla="*/ 92210 w 110101"/>
                <a:gd name="connsiteY1" fmla="*/ 20644 h 137626"/>
                <a:gd name="connsiteX2" fmla="*/ 92210 w 110101"/>
                <a:gd name="connsiteY2" fmla="*/ 136251 h 137626"/>
                <a:gd name="connsiteX3" fmla="*/ 20644 w 110101"/>
                <a:gd name="connsiteY3" fmla="*/ 136251 h 13762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13762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136251"/>
                  </a:lnTo>
                  <a:lnTo>
                    <a:pt x="20644" y="13625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1" name="Freeform: Shape 40">
              <a:extLst>
                <a:ext uri="{FF2B5EF4-FFF2-40B4-BE49-F238E27FC236}">
                  <a16:creationId xmlns:a16="http://schemas.microsoft.com/office/drawing/2014/main" id="{AACB428A-70CC-49C9-9815-49643EC9A0FD}"/>
                </a:ext>
              </a:extLst>
            </p:cNvPr>
            <p:cNvSpPr/>
            <p:nvPr/>
          </p:nvSpPr>
          <p:spPr bwMode="black">
            <a:xfrm>
              <a:off x="4680224" y="686158"/>
              <a:ext cx="578033" cy="660609"/>
            </a:xfrm>
            <a:custGeom>
              <a:avLst/>
              <a:gdLst>
                <a:gd name="connsiteX0" fmla="*/ 92210 w 578033"/>
                <a:gd name="connsiteY0" fmla="*/ 331681 h 660609"/>
                <a:gd name="connsiteX1" fmla="*/ 298650 w 578033"/>
                <a:gd name="connsiteY1" fmla="*/ 582162 h 660609"/>
                <a:gd name="connsiteX2" fmla="*/ 505091 w 578033"/>
                <a:gd name="connsiteY2" fmla="*/ 331681 h 660609"/>
                <a:gd name="connsiteX3" fmla="*/ 298650 w 578033"/>
                <a:gd name="connsiteY3" fmla="*/ 81200 h 660609"/>
                <a:gd name="connsiteX4" fmla="*/ 92210 w 578033"/>
                <a:gd name="connsiteY4" fmla="*/ 331681 h 660609"/>
                <a:gd name="connsiteX5" fmla="*/ 576657 w 578033"/>
                <a:gd name="connsiteY5" fmla="*/ 331681 h 660609"/>
                <a:gd name="connsiteX6" fmla="*/ 298650 w 578033"/>
                <a:gd name="connsiteY6" fmla="*/ 642718 h 660609"/>
                <a:gd name="connsiteX7" fmla="*/ 20644 w 578033"/>
                <a:gd name="connsiteY7" fmla="*/ 331681 h 660609"/>
                <a:gd name="connsiteX8" fmla="*/ 298650 w 578033"/>
                <a:gd name="connsiteY8" fmla="*/ 20644 h 660609"/>
                <a:gd name="connsiteX9" fmla="*/ 576657 w 578033"/>
                <a:gd name="connsiteY9" fmla="*/ 331681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</a:cxnLst>
              <a:rect l="l" t="t" r="r" b="b"/>
              <a:pathLst>
                <a:path w="578033" h="660609">
                  <a:moveTo>
                    <a:pt x="92210" y="331681"/>
                  </a:moveTo>
                  <a:cubicBezTo>
                    <a:pt x="92210" y="458298"/>
                    <a:pt x="161023" y="582162"/>
                    <a:pt x="298650" y="582162"/>
                  </a:cubicBezTo>
                  <a:cubicBezTo>
                    <a:pt x="436277" y="582162"/>
                    <a:pt x="505091" y="455545"/>
                    <a:pt x="505091" y="331681"/>
                  </a:cubicBezTo>
                  <a:cubicBezTo>
                    <a:pt x="505091" y="205064"/>
                    <a:pt x="436277" y="81200"/>
                    <a:pt x="298650" y="81200"/>
                  </a:cubicBezTo>
                  <a:cubicBezTo>
                    <a:pt x="161023" y="81200"/>
                    <a:pt x="92210" y="205064"/>
                    <a:pt x="92210" y="331681"/>
                  </a:cubicBezTo>
                  <a:moveTo>
                    <a:pt x="576657" y="331681"/>
                  </a:moveTo>
                  <a:cubicBezTo>
                    <a:pt x="576657" y="499586"/>
                    <a:pt x="477565" y="642718"/>
                    <a:pt x="298650" y="642718"/>
                  </a:cubicBezTo>
                  <a:cubicBezTo>
                    <a:pt x="119735" y="642718"/>
                    <a:pt x="20644" y="499586"/>
                    <a:pt x="20644" y="331681"/>
                  </a:cubicBezTo>
                  <a:cubicBezTo>
                    <a:pt x="20644" y="163776"/>
                    <a:pt x="119735" y="20644"/>
                    <a:pt x="298650" y="20644"/>
                  </a:cubicBezTo>
                  <a:cubicBezTo>
                    <a:pt x="477565" y="20644"/>
                    <a:pt x="576657" y="163776"/>
                    <a:pt x="576657" y="331681"/>
                  </a:cubicBezTo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2" name="Freeform: Shape 41">
              <a:extLst>
                <a:ext uri="{FF2B5EF4-FFF2-40B4-BE49-F238E27FC236}">
                  <a16:creationId xmlns:a16="http://schemas.microsoft.com/office/drawing/2014/main" id="{3861F017-D2F7-4800-923F-F093966A464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2135 h 633083"/>
                <a:gd name="connsiteX11" fmla="*/ 92210 w 495456"/>
                <a:gd name="connsiteY11" fmla="*/ 626203 h 633083"/>
                <a:gd name="connsiteX12" fmla="*/ 20644 w 495456"/>
                <a:gd name="connsiteY12" fmla="*/ 626203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2135"/>
                  </a:cubicBezTo>
                  <a:lnTo>
                    <a:pt x="92210" y="626203"/>
                  </a:lnTo>
                  <a:lnTo>
                    <a:pt x="20644" y="626203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3" name="Freeform: Shape 42">
              <a:extLst>
                <a:ext uri="{FF2B5EF4-FFF2-40B4-BE49-F238E27FC236}">
                  <a16:creationId xmlns:a16="http://schemas.microsoft.com/office/drawing/2014/main" id="{EC217B49-70CC-4D78-AED0-18A9A28B3500}"/>
                </a:ext>
              </a:extLst>
            </p:cNvPr>
            <p:cNvSpPr/>
            <p:nvPr/>
          </p:nvSpPr>
          <p:spPr bwMode="black">
            <a:xfrm>
              <a:off x="5340834" y="686158"/>
              <a:ext cx="495457" cy="633084"/>
            </a:xfrm>
            <a:custGeom>
              <a:avLst/>
              <a:gdLst>
                <a:gd name="connsiteX0" fmla="*/ 20644 w 495456"/>
                <a:gd name="connsiteY0" fmla="*/ 37159 h 633083"/>
                <a:gd name="connsiteX1" fmla="*/ 92210 w 495456"/>
                <a:gd name="connsiteY1" fmla="*/ 37159 h 633083"/>
                <a:gd name="connsiteX2" fmla="*/ 92210 w 495456"/>
                <a:gd name="connsiteY2" fmla="*/ 139003 h 633083"/>
                <a:gd name="connsiteX3" fmla="*/ 94963 w 495456"/>
                <a:gd name="connsiteY3" fmla="*/ 139003 h 633083"/>
                <a:gd name="connsiteX4" fmla="*/ 282135 w 495456"/>
                <a:gd name="connsiteY4" fmla="*/ 20644 h 633083"/>
                <a:gd name="connsiteX5" fmla="*/ 496833 w 495456"/>
                <a:gd name="connsiteY5" fmla="*/ 249105 h 633083"/>
                <a:gd name="connsiteX6" fmla="*/ 496833 w 495456"/>
                <a:gd name="connsiteY6" fmla="*/ 628955 h 633083"/>
                <a:gd name="connsiteX7" fmla="*/ 425267 w 495456"/>
                <a:gd name="connsiteY7" fmla="*/ 628955 h 633083"/>
                <a:gd name="connsiteX8" fmla="*/ 425267 w 495456"/>
                <a:gd name="connsiteY8" fmla="*/ 260115 h 633083"/>
                <a:gd name="connsiteX9" fmla="*/ 276630 w 495456"/>
                <a:gd name="connsiteY9" fmla="*/ 81200 h 633083"/>
                <a:gd name="connsiteX10" fmla="*/ 92210 w 495456"/>
                <a:gd name="connsiteY10" fmla="*/ 284888 h 633083"/>
                <a:gd name="connsiteX11" fmla="*/ 92210 w 495456"/>
                <a:gd name="connsiteY11" fmla="*/ 628955 h 633083"/>
                <a:gd name="connsiteX12" fmla="*/ 20644 w 495456"/>
                <a:gd name="connsiteY12" fmla="*/ 628955 h 633083"/>
                <a:gd name="connsiteX13" fmla="*/ 20644 w 495456"/>
                <a:gd name="connsiteY13" fmla="*/ 37159 h 633083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</a:cxnLst>
              <a:rect l="l" t="t" r="r" b="b"/>
              <a:pathLst>
                <a:path w="495456" h="633083">
                  <a:moveTo>
                    <a:pt x="20644" y="37159"/>
                  </a:moveTo>
                  <a:lnTo>
                    <a:pt x="92210" y="37159"/>
                  </a:lnTo>
                  <a:lnTo>
                    <a:pt x="92210" y="139003"/>
                  </a:lnTo>
                  <a:lnTo>
                    <a:pt x="94963" y="139003"/>
                  </a:lnTo>
                  <a:cubicBezTo>
                    <a:pt x="122488" y="67437"/>
                    <a:pt x="199559" y="20644"/>
                    <a:pt x="282135" y="20644"/>
                  </a:cubicBezTo>
                  <a:cubicBezTo>
                    <a:pt x="447288" y="20644"/>
                    <a:pt x="496833" y="108725"/>
                    <a:pt x="496833" y="249105"/>
                  </a:cubicBezTo>
                  <a:lnTo>
                    <a:pt x="496833" y="628955"/>
                  </a:lnTo>
                  <a:lnTo>
                    <a:pt x="425267" y="628955"/>
                  </a:lnTo>
                  <a:lnTo>
                    <a:pt x="425267" y="260115"/>
                  </a:lnTo>
                  <a:cubicBezTo>
                    <a:pt x="425267" y="158271"/>
                    <a:pt x="392237" y="81200"/>
                    <a:pt x="276630" y="81200"/>
                  </a:cubicBezTo>
                  <a:cubicBezTo>
                    <a:pt x="163776" y="81200"/>
                    <a:pt x="94963" y="169281"/>
                    <a:pt x="92210" y="284888"/>
                  </a:cubicBezTo>
                  <a:lnTo>
                    <a:pt x="92210" y="628955"/>
                  </a:lnTo>
                  <a:lnTo>
                    <a:pt x="20644" y="628955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4" name="Freeform: Shape 43">
              <a:extLst>
                <a:ext uri="{FF2B5EF4-FFF2-40B4-BE49-F238E27FC236}">
                  <a16:creationId xmlns:a16="http://schemas.microsoft.com/office/drawing/2014/main" id="{7021449B-89FF-4452-B2AC-A01CC925A3F6}"/>
                </a:ext>
              </a:extLst>
            </p:cNvPr>
            <p:cNvSpPr/>
            <p:nvPr/>
          </p:nvSpPr>
          <p:spPr bwMode="black">
            <a:xfrm>
              <a:off x="5918867" y="686158"/>
              <a:ext cx="578033" cy="660609"/>
            </a:xfrm>
            <a:custGeom>
              <a:avLst/>
              <a:gdLst>
                <a:gd name="connsiteX0" fmla="*/ 430772 w 578033"/>
                <a:gd name="connsiteY0" fmla="*/ 304156 h 660609"/>
                <a:gd name="connsiteX1" fmla="*/ 430772 w 578033"/>
                <a:gd name="connsiteY1" fmla="*/ 304156 h 660609"/>
                <a:gd name="connsiteX2" fmla="*/ 367464 w 578033"/>
                <a:gd name="connsiteY2" fmla="*/ 331681 h 660609"/>
                <a:gd name="connsiteX3" fmla="*/ 94963 w 578033"/>
                <a:gd name="connsiteY3" fmla="*/ 466555 h 660609"/>
                <a:gd name="connsiteX4" fmla="*/ 227084 w 578033"/>
                <a:gd name="connsiteY4" fmla="*/ 582162 h 660609"/>
                <a:gd name="connsiteX5" fmla="*/ 430772 w 578033"/>
                <a:gd name="connsiteY5" fmla="*/ 397742 h 660609"/>
                <a:gd name="connsiteX6" fmla="*/ 430772 w 578033"/>
                <a:gd name="connsiteY6" fmla="*/ 304156 h 660609"/>
                <a:gd name="connsiteX7" fmla="*/ 48169 w 578033"/>
                <a:gd name="connsiteY7" fmla="*/ 218827 h 660609"/>
                <a:gd name="connsiteX8" fmla="*/ 284888 w 578033"/>
                <a:gd name="connsiteY8" fmla="*/ 20644 h 660609"/>
                <a:gd name="connsiteX9" fmla="*/ 502338 w 578033"/>
                <a:gd name="connsiteY9" fmla="*/ 210569 h 660609"/>
                <a:gd name="connsiteX10" fmla="*/ 502338 w 578033"/>
                <a:gd name="connsiteY10" fmla="*/ 524359 h 660609"/>
                <a:gd name="connsiteX11" fmla="*/ 543626 w 578033"/>
                <a:gd name="connsiteY11" fmla="*/ 568399 h 660609"/>
                <a:gd name="connsiteX12" fmla="*/ 565647 w 578033"/>
                <a:gd name="connsiteY12" fmla="*/ 562894 h 660609"/>
                <a:gd name="connsiteX13" fmla="*/ 565647 w 578033"/>
                <a:gd name="connsiteY13" fmla="*/ 623450 h 660609"/>
                <a:gd name="connsiteX14" fmla="*/ 518854 w 578033"/>
                <a:gd name="connsiteY14" fmla="*/ 628955 h 660609"/>
                <a:gd name="connsiteX15" fmla="*/ 433525 w 578033"/>
                <a:gd name="connsiteY15" fmla="*/ 527111 h 660609"/>
                <a:gd name="connsiteX16" fmla="*/ 430772 w 578033"/>
                <a:gd name="connsiteY16" fmla="*/ 527111 h 660609"/>
                <a:gd name="connsiteX17" fmla="*/ 216074 w 578033"/>
                <a:gd name="connsiteY17" fmla="*/ 648223 h 660609"/>
                <a:gd name="connsiteX18" fmla="*/ 20644 w 578033"/>
                <a:gd name="connsiteY18" fmla="*/ 474813 h 660609"/>
                <a:gd name="connsiteX19" fmla="*/ 334433 w 578033"/>
                <a:gd name="connsiteY19" fmla="*/ 284888 h 660609"/>
                <a:gd name="connsiteX20" fmla="*/ 425267 w 578033"/>
                <a:gd name="connsiteY20" fmla="*/ 205064 h 660609"/>
                <a:gd name="connsiteX21" fmla="*/ 271125 w 578033"/>
                <a:gd name="connsiteY21" fmla="*/ 83952 h 660609"/>
                <a:gd name="connsiteX22" fmla="*/ 114230 w 578033"/>
                <a:gd name="connsiteY22" fmla="*/ 221579 h 660609"/>
                <a:gd name="connsiteX23" fmla="*/ 48169 w 578033"/>
                <a:gd name="connsiteY23" fmla="*/ 22157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  <a:cxn ang="0">
                  <a:pos x="connsiteX21" y="connsiteY21"/>
                </a:cxn>
                <a:cxn ang="0">
                  <a:pos x="connsiteX22" y="connsiteY22"/>
                </a:cxn>
                <a:cxn ang="0">
                  <a:pos x="connsiteX23" y="connsiteY23"/>
                </a:cxn>
              </a:cxnLst>
              <a:rect l="l" t="t" r="r" b="b"/>
              <a:pathLst>
                <a:path w="578033" h="660609">
                  <a:moveTo>
                    <a:pt x="430772" y="304156"/>
                  </a:moveTo>
                  <a:lnTo>
                    <a:pt x="430772" y="304156"/>
                  </a:lnTo>
                  <a:cubicBezTo>
                    <a:pt x="419762" y="320671"/>
                    <a:pt x="386732" y="326176"/>
                    <a:pt x="367464" y="331681"/>
                  </a:cubicBezTo>
                  <a:cubicBezTo>
                    <a:pt x="246352" y="353701"/>
                    <a:pt x="94963" y="350949"/>
                    <a:pt x="94963" y="466555"/>
                  </a:cubicBezTo>
                  <a:cubicBezTo>
                    <a:pt x="94963" y="538121"/>
                    <a:pt x="158271" y="582162"/>
                    <a:pt x="227084" y="582162"/>
                  </a:cubicBezTo>
                  <a:cubicBezTo>
                    <a:pt x="337186" y="582162"/>
                    <a:pt x="433525" y="513348"/>
                    <a:pt x="430772" y="397742"/>
                  </a:cubicBezTo>
                  <a:lnTo>
                    <a:pt x="430772" y="304156"/>
                  </a:lnTo>
                  <a:close/>
                  <a:moveTo>
                    <a:pt x="48169" y="218827"/>
                  </a:moveTo>
                  <a:cubicBezTo>
                    <a:pt x="56427" y="81200"/>
                    <a:pt x="152766" y="20644"/>
                    <a:pt x="284888" y="20644"/>
                  </a:cubicBezTo>
                  <a:cubicBezTo>
                    <a:pt x="389484" y="20644"/>
                    <a:pt x="502338" y="53675"/>
                    <a:pt x="502338" y="210569"/>
                  </a:cubicBezTo>
                  <a:lnTo>
                    <a:pt x="502338" y="524359"/>
                  </a:lnTo>
                  <a:cubicBezTo>
                    <a:pt x="502338" y="551884"/>
                    <a:pt x="516101" y="568399"/>
                    <a:pt x="543626" y="568399"/>
                  </a:cubicBezTo>
                  <a:cubicBezTo>
                    <a:pt x="551884" y="568399"/>
                    <a:pt x="560141" y="565647"/>
                    <a:pt x="565647" y="562894"/>
                  </a:cubicBezTo>
                  <a:lnTo>
                    <a:pt x="565647" y="623450"/>
                  </a:lnTo>
                  <a:cubicBezTo>
                    <a:pt x="549131" y="626203"/>
                    <a:pt x="538121" y="628955"/>
                    <a:pt x="518854" y="628955"/>
                  </a:cubicBezTo>
                  <a:cubicBezTo>
                    <a:pt x="447288" y="628955"/>
                    <a:pt x="433525" y="587667"/>
                    <a:pt x="433525" y="527111"/>
                  </a:cubicBezTo>
                  <a:lnTo>
                    <a:pt x="430772" y="527111"/>
                  </a:lnTo>
                  <a:cubicBezTo>
                    <a:pt x="381227" y="604182"/>
                    <a:pt x="328928" y="648223"/>
                    <a:pt x="216074" y="648223"/>
                  </a:cubicBezTo>
                  <a:cubicBezTo>
                    <a:pt x="108725" y="648223"/>
                    <a:pt x="20644" y="593172"/>
                    <a:pt x="20644" y="474813"/>
                  </a:cubicBezTo>
                  <a:cubicBezTo>
                    <a:pt x="20644" y="309661"/>
                    <a:pt x="180291" y="304156"/>
                    <a:pt x="334433" y="284888"/>
                  </a:cubicBezTo>
                  <a:cubicBezTo>
                    <a:pt x="392237" y="279383"/>
                    <a:pt x="425267" y="271125"/>
                    <a:pt x="425267" y="205064"/>
                  </a:cubicBezTo>
                  <a:cubicBezTo>
                    <a:pt x="425267" y="108725"/>
                    <a:pt x="356454" y="83952"/>
                    <a:pt x="271125" y="83952"/>
                  </a:cubicBezTo>
                  <a:cubicBezTo>
                    <a:pt x="183044" y="83952"/>
                    <a:pt x="116983" y="125240"/>
                    <a:pt x="114230" y="221579"/>
                  </a:cubicBezTo>
                  <a:lnTo>
                    <a:pt x="48169" y="22157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5" name="Freeform: Shape 44">
              <a:extLst>
                <a:ext uri="{FF2B5EF4-FFF2-40B4-BE49-F238E27FC236}">
                  <a16:creationId xmlns:a16="http://schemas.microsoft.com/office/drawing/2014/main" id="{A63DE190-5910-4A04-8831-912E7B4D07E0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6" name="Freeform: Shape 45">
              <a:extLst>
                <a:ext uri="{FF2B5EF4-FFF2-40B4-BE49-F238E27FC236}">
                  <a16:creationId xmlns:a16="http://schemas.microsoft.com/office/drawing/2014/main" id="{CC513A30-DC41-4B70-B474-B7F9882045F1}"/>
                </a:ext>
              </a:extLst>
            </p:cNvPr>
            <p:cNvSpPr/>
            <p:nvPr/>
          </p:nvSpPr>
          <p:spPr bwMode="black">
            <a:xfrm>
              <a:off x="6582229" y="476965"/>
              <a:ext cx="110102" cy="853287"/>
            </a:xfrm>
            <a:custGeom>
              <a:avLst/>
              <a:gdLst>
                <a:gd name="connsiteX0" fmla="*/ 20644 w 110101"/>
                <a:gd name="connsiteY0" fmla="*/ 20644 h 853286"/>
                <a:gd name="connsiteX1" fmla="*/ 92210 w 110101"/>
                <a:gd name="connsiteY1" fmla="*/ 20644 h 853286"/>
                <a:gd name="connsiteX2" fmla="*/ 92210 w 110101"/>
                <a:gd name="connsiteY2" fmla="*/ 838148 h 853286"/>
                <a:gd name="connsiteX3" fmla="*/ 20644 w 110101"/>
                <a:gd name="connsiteY3" fmla="*/ 838148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110101" h="853286">
                  <a:moveTo>
                    <a:pt x="20644" y="20644"/>
                  </a:moveTo>
                  <a:lnTo>
                    <a:pt x="92210" y="20644"/>
                  </a:lnTo>
                  <a:lnTo>
                    <a:pt x="92210" y="838148"/>
                  </a:lnTo>
                  <a:lnTo>
                    <a:pt x="20644" y="838148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7" name="Freeform: Shape 46">
              <a:extLst>
                <a:ext uri="{FF2B5EF4-FFF2-40B4-BE49-F238E27FC236}">
                  <a16:creationId xmlns:a16="http://schemas.microsoft.com/office/drawing/2014/main" id="{04BE96A6-616D-4E71-8D2F-943A0D187F8C}"/>
                </a:ext>
              </a:extLst>
            </p:cNvPr>
            <p:cNvSpPr/>
            <p:nvPr/>
          </p:nvSpPr>
          <p:spPr bwMode="black">
            <a:xfrm>
              <a:off x="6766649" y="666890"/>
              <a:ext cx="605559" cy="908338"/>
            </a:xfrm>
            <a:custGeom>
              <a:avLst/>
              <a:gdLst>
                <a:gd name="connsiteX0" fmla="*/ 312413 w 605558"/>
                <a:gd name="connsiteY0" fmla="*/ 516101 h 908337"/>
                <a:gd name="connsiteX1" fmla="*/ 447288 w 605558"/>
                <a:gd name="connsiteY1" fmla="*/ 339939 h 908337"/>
                <a:gd name="connsiteX2" fmla="*/ 309661 w 605558"/>
                <a:gd name="connsiteY2" fmla="*/ 161024 h 908337"/>
                <a:gd name="connsiteX3" fmla="*/ 185796 w 605558"/>
                <a:gd name="connsiteY3" fmla="*/ 345444 h 908337"/>
                <a:gd name="connsiteX4" fmla="*/ 312413 w 605558"/>
                <a:gd name="connsiteY4" fmla="*/ 516101 h 908337"/>
                <a:gd name="connsiteX5" fmla="*/ 604182 w 605558"/>
                <a:gd name="connsiteY5" fmla="*/ 37159 h 908337"/>
                <a:gd name="connsiteX6" fmla="*/ 604182 w 605558"/>
                <a:gd name="connsiteY6" fmla="*/ 615192 h 908337"/>
                <a:gd name="connsiteX7" fmla="*/ 298650 w 605558"/>
                <a:gd name="connsiteY7" fmla="*/ 895951 h 908337"/>
                <a:gd name="connsiteX8" fmla="*/ 34407 w 605558"/>
                <a:gd name="connsiteY8" fmla="*/ 714284 h 908337"/>
                <a:gd name="connsiteX9" fmla="*/ 207816 w 605558"/>
                <a:gd name="connsiteY9" fmla="*/ 714284 h 908337"/>
                <a:gd name="connsiteX10" fmla="*/ 320671 w 605558"/>
                <a:gd name="connsiteY10" fmla="*/ 774840 h 908337"/>
                <a:gd name="connsiteX11" fmla="*/ 447288 w 605558"/>
                <a:gd name="connsiteY11" fmla="*/ 634460 h 908337"/>
                <a:gd name="connsiteX12" fmla="*/ 447288 w 605558"/>
                <a:gd name="connsiteY12" fmla="*/ 560142 h 908337"/>
                <a:gd name="connsiteX13" fmla="*/ 444535 w 605558"/>
                <a:gd name="connsiteY13" fmla="*/ 557389 h 908337"/>
                <a:gd name="connsiteX14" fmla="*/ 282135 w 605558"/>
                <a:gd name="connsiteY14" fmla="*/ 648223 h 908337"/>
                <a:gd name="connsiteX15" fmla="*/ 20644 w 605558"/>
                <a:gd name="connsiteY15" fmla="*/ 334433 h 908337"/>
                <a:gd name="connsiteX16" fmla="*/ 271125 w 605558"/>
                <a:gd name="connsiteY16" fmla="*/ 20644 h 908337"/>
                <a:gd name="connsiteX17" fmla="*/ 447288 w 605558"/>
                <a:gd name="connsiteY17" fmla="*/ 127993 h 908337"/>
                <a:gd name="connsiteX18" fmla="*/ 450040 w 605558"/>
                <a:gd name="connsiteY18" fmla="*/ 127993 h 908337"/>
                <a:gd name="connsiteX19" fmla="*/ 450040 w 605558"/>
                <a:gd name="connsiteY19" fmla="*/ 37159 h 908337"/>
                <a:gd name="connsiteX20" fmla="*/ 604182 w 605558"/>
                <a:gd name="connsiteY20" fmla="*/ 37159 h 9083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605558" h="908337">
                  <a:moveTo>
                    <a:pt x="312413" y="516101"/>
                  </a:moveTo>
                  <a:cubicBezTo>
                    <a:pt x="419762" y="516101"/>
                    <a:pt x="447288" y="422515"/>
                    <a:pt x="447288" y="339939"/>
                  </a:cubicBezTo>
                  <a:cubicBezTo>
                    <a:pt x="447288" y="240847"/>
                    <a:pt x="400494" y="161024"/>
                    <a:pt x="309661" y="161024"/>
                  </a:cubicBezTo>
                  <a:cubicBezTo>
                    <a:pt x="251857" y="161024"/>
                    <a:pt x="185796" y="205064"/>
                    <a:pt x="185796" y="345444"/>
                  </a:cubicBezTo>
                  <a:cubicBezTo>
                    <a:pt x="185796" y="422515"/>
                    <a:pt x="216074" y="516101"/>
                    <a:pt x="312413" y="516101"/>
                  </a:cubicBezTo>
                  <a:moveTo>
                    <a:pt x="604182" y="37159"/>
                  </a:moveTo>
                  <a:lnTo>
                    <a:pt x="604182" y="615192"/>
                  </a:lnTo>
                  <a:cubicBezTo>
                    <a:pt x="604182" y="719789"/>
                    <a:pt x="595925" y="895951"/>
                    <a:pt x="298650" y="895951"/>
                  </a:cubicBezTo>
                  <a:cubicBezTo>
                    <a:pt x="174786" y="895951"/>
                    <a:pt x="42664" y="840901"/>
                    <a:pt x="34407" y="714284"/>
                  </a:cubicBezTo>
                  <a:lnTo>
                    <a:pt x="207816" y="714284"/>
                  </a:lnTo>
                  <a:cubicBezTo>
                    <a:pt x="216074" y="744562"/>
                    <a:pt x="227084" y="774840"/>
                    <a:pt x="320671" y="774840"/>
                  </a:cubicBezTo>
                  <a:cubicBezTo>
                    <a:pt x="405999" y="774840"/>
                    <a:pt x="447288" y="733552"/>
                    <a:pt x="447288" y="634460"/>
                  </a:cubicBezTo>
                  <a:lnTo>
                    <a:pt x="447288" y="560142"/>
                  </a:lnTo>
                  <a:lnTo>
                    <a:pt x="444535" y="557389"/>
                  </a:lnTo>
                  <a:cubicBezTo>
                    <a:pt x="419762" y="604182"/>
                    <a:pt x="378474" y="648223"/>
                    <a:pt x="282135" y="648223"/>
                  </a:cubicBezTo>
                  <a:cubicBezTo>
                    <a:pt x="136251" y="648223"/>
                    <a:pt x="20644" y="546379"/>
                    <a:pt x="20644" y="334433"/>
                  </a:cubicBezTo>
                  <a:cubicBezTo>
                    <a:pt x="20644" y="125241"/>
                    <a:pt x="139003" y="20644"/>
                    <a:pt x="271125" y="20644"/>
                  </a:cubicBezTo>
                  <a:cubicBezTo>
                    <a:pt x="383979" y="20644"/>
                    <a:pt x="428019" y="86705"/>
                    <a:pt x="447288" y="127993"/>
                  </a:cubicBezTo>
                  <a:lnTo>
                    <a:pt x="450040" y="127993"/>
                  </a:lnTo>
                  <a:lnTo>
                    <a:pt x="450040" y="37159"/>
                  </a:lnTo>
                  <a:lnTo>
                    <a:pt x="604182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8" name="Freeform: Shape 47">
              <a:extLst>
                <a:ext uri="{FF2B5EF4-FFF2-40B4-BE49-F238E27FC236}">
                  <a16:creationId xmlns:a16="http://schemas.microsoft.com/office/drawing/2014/main" id="{FC6CE4B4-072A-4577-874A-81871C055E54}"/>
                </a:ext>
              </a:extLst>
            </p:cNvPr>
            <p:cNvSpPr/>
            <p:nvPr/>
          </p:nvSpPr>
          <p:spPr bwMode="black">
            <a:xfrm>
              <a:off x="7485061" y="666890"/>
              <a:ext cx="385355" cy="660609"/>
            </a:xfrm>
            <a:custGeom>
              <a:avLst/>
              <a:gdLst>
                <a:gd name="connsiteX0" fmla="*/ 23397 w 385355"/>
                <a:gd name="connsiteY0" fmla="*/ 37159 h 660609"/>
                <a:gd name="connsiteX1" fmla="*/ 174786 w 385355"/>
                <a:gd name="connsiteY1" fmla="*/ 37159 h 660609"/>
                <a:gd name="connsiteX2" fmla="*/ 174786 w 385355"/>
                <a:gd name="connsiteY2" fmla="*/ 141756 h 660609"/>
                <a:gd name="connsiteX3" fmla="*/ 177539 w 385355"/>
                <a:gd name="connsiteY3" fmla="*/ 141756 h 660609"/>
                <a:gd name="connsiteX4" fmla="*/ 342691 w 385355"/>
                <a:gd name="connsiteY4" fmla="*/ 20644 h 660609"/>
                <a:gd name="connsiteX5" fmla="*/ 372969 w 385355"/>
                <a:gd name="connsiteY5" fmla="*/ 23397 h 660609"/>
                <a:gd name="connsiteX6" fmla="*/ 372969 w 385355"/>
                <a:gd name="connsiteY6" fmla="*/ 185796 h 660609"/>
                <a:gd name="connsiteX7" fmla="*/ 326176 w 385355"/>
                <a:gd name="connsiteY7" fmla="*/ 183044 h 660609"/>
                <a:gd name="connsiteX8" fmla="*/ 180291 w 385355"/>
                <a:gd name="connsiteY8" fmla="*/ 328928 h 660609"/>
                <a:gd name="connsiteX9" fmla="*/ 180291 w 385355"/>
                <a:gd name="connsiteY9" fmla="*/ 645470 h 660609"/>
                <a:gd name="connsiteX10" fmla="*/ 20644 w 385355"/>
                <a:gd name="connsiteY10" fmla="*/ 645470 h 660609"/>
                <a:gd name="connsiteX11" fmla="*/ 20644 w 385355"/>
                <a:gd name="connsiteY11" fmla="*/ 37159 h 660609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</a:cxnLst>
              <a:rect l="l" t="t" r="r" b="b"/>
              <a:pathLst>
                <a:path w="385355" h="660609">
                  <a:moveTo>
                    <a:pt x="23397" y="37159"/>
                  </a:moveTo>
                  <a:lnTo>
                    <a:pt x="174786" y="37159"/>
                  </a:lnTo>
                  <a:lnTo>
                    <a:pt x="174786" y="141756"/>
                  </a:lnTo>
                  <a:lnTo>
                    <a:pt x="177539" y="141756"/>
                  </a:lnTo>
                  <a:cubicBezTo>
                    <a:pt x="210569" y="81200"/>
                    <a:pt x="246352" y="20644"/>
                    <a:pt x="342691" y="20644"/>
                  </a:cubicBezTo>
                  <a:cubicBezTo>
                    <a:pt x="353701" y="20644"/>
                    <a:pt x="361959" y="20644"/>
                    <a:pt x="372969" y="23397"/>
                  </a:cubicBezTo>
                  <a:lnTo>
                    <a:pt x="372969" y="185796"/>
                  </a:lnTo>
                  <a:cubicBezTo>
                    <a:pt x="359206" y="183044"/>
                    <a:pt x="342691" y="183044"/>
                    <a:pt x="326176" y="183044"/>
                  </a:cubicBezTo>
                  <a:cubicBezTo>
                    <a:pt x="202312" y="183044"/>
                    <a:pt x="180291" y="260115"/>
                    <a:pt x="180291" y="328928"/>
                  </a:cubicBezTo>
                  <a:lnTo>
                    <a:pt x="180291" y="645470"/>
                  </a:lnTo>
                  <a:lnTo>
                    <a:pt x="20644" y="645470"/>
                  </a:lnTo>
                  <a:lnTo>
                    <a:pt x="20644" y="37159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  <p:sp>
          <p:nvSpPr>
            <p:cNvPr id="49" name="Freeform: Shape 48">
              <a:extLst>
                <a:ext uri="{FF2B5EF4-FFF2-40B4-BE49-F238E27FC236}">
                  <a16:creationId xmlns:a16="http://schemas.microsoft.com/office/drawing/2014/main" id="{CC62C249-90CE-45DC-8B3D-A3EF2B7862C4}"/>
                </a:ext>
              </a:extLst>
            </p:cNvPr>
            <p:cNvSpPr/>
            <p:nvPr/>
          </p:nvSpPr>
          <p:spPr bwMode="black">
            <a:xfrm>
              <a:off x="8206226" y="471460"/>
              <a:ext cx="633084" cy="853287"/>
            </a:xfrm>
            <a:custGeom>
              <a:avLst/>
              <a:gdLst>
                <a:gd name="connsiteX0" fmla="*/ 320671 w 633083"/>
                <a:gd name="connsiteY0" fmla="*/ 725294 h 853286"/>
                <a:gd name="connsiteX1" fmla="*/ 461050 w 633083"/>
                <a:gd name="connsiteY1" fmla="*/ 549131 h 853286"/>
                <a:gd name="connsiteX2" fmla="*/ 323423 w 633083"/>
                <a:gd name="connsiteY2" fmla="*/ 353701 h 853286"/>
                <a:gd name="connsiteX3" fmla="*/ 188549 w 633083"/>
                <a:gd name="connsiteY3" fmla="*/ 540874 h 853286"/>
                <a:gd name="connsiteX4" fmla="*/ 320671 w 633083"/>
                <a:gd name="connsiteY4" fmla="*/ 725294 h 853286"/>
                <a:gd name="connsiteX5" fmla="*/ 612440 w 633083"/>
                <a:gd name="connsiteY5" fmla="*/ 840901 h 853286"/>
                <a:gd name="connsiteX6" fmla="*/ 455545 w 633083"/>
                <a:gd name="connsiteY6" fmla="*/ 840901 h 853286"/>
                <a:gd name="connsiteX7" fmla="*/ 455545 w 633083"/>
                <a:gd name="connsiteY7" fmla="*/ 763829 h 853286"/>
                <a:gd name="connsiteX8" fmla="*/ 452793 w 633083"/>
                <a:gd name="connsiteY8" fmla="*/ 763829 h 853286"/>
                <a:gd name="connsiteX9" fmla="*/ 276630 w 633083"/>
                <a:gd name="connsiteY9" fmla="*/ 857416 h 853286"/>
                <a:gd name="connsiteX10" fmla="*/ 20644 w 633083"/>
                <a:gd name="connsiteY10" fmla="*/ 529864 h 853286"/>
                <a:gd name="connsiteX11" fmla="*/ 271125 w 633083"/>
                <a:gd name="connsiteY11" fmla="*/ 216074 h 853286"/>
                <a:gd name="connsiteX12" fmla="*/ 447288 w 633083"/>
                <a:gd name="connsiteY12" fmla="*/ 309661 h 853286"/>
                <a:gd name="connsiteX13" fmla="*/ 450040 w 633083"/>
                <a:gd name="connsiteY13" fmla="*/ 309661 h 853286"/>
                <a:gd name="connsiteX14" fmla="*/ 450040 w 633083"/>
                <a:gd name="connsiteY14" fmla="*/ 20644 h 853286"/>
                <a:gd name="connsiteX15" fmla="*/ 609688 w 633083"/>
                <a:gd name="connsiteY15" fmla="*/ 20644 h 853286"/>
                <a:gd name="connsiteX16" fmla="*/ 609688 w 633083"/>
                <a:gd name="connsiteY16" fmla="*/ 840901 h 85328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</a:cxnLst>
              <a:rect l="l" t="t" r="r" b="b"/>
              <a:pathLst>
                <a:path w="633083" h="853286">
                  <a:moveTo>
                    <a:pt x="320671" y="725294"/>
                  </a:moveTo>
                  <a:cubicBezTo>
                    <a:pt x="422515" y="725294"/>
                    <a:pt x="461050" y="639965"/>
                    <a:pt x="461050" y="549131"/>
                  </a:cubicBezTo>
                  <a:cubicBezTo>
                    <a:pt x="461050" y="452793"/>
                    <a:pt x="433525" y="353701"/>
                    <a:pt x="323423" y="353701"/>
                  </a:cubicBezTo>
                  <a:cubicBezTo>
                    <a:pt x="221579" y="353701"/>
                    <a:pt x="188549" y="444535"/>
                    <a:pt x="188549" y="540874"/>
                  </a:cubicBezTo>
                  <a:cubicBezTo>
                    <a:pt x="188549" y="615192"/>
                    <a:pt x="216074" y="725294"/>
                    <a:pt x="320671" y="725294"/>
                  </a:cubicBezTo>
                  <a:moveTo>
                    <a:pt x="612440" y="840901"/>
                  </a:moveTo>
                  <a:lnTo>
                    <a:pt x="455545" y="840901"/>
                  </a:lnTo>
                  <a:lnTo>
                    <a:pt x="455545" y="763829"/>
                  </a:lnTo>
                  <a:lnTo>
                    <a:pt x="452793" y="763829"/>
                  </a:lnTo>
                  <a:cubicBezTo>
                    <a:pt x="414257" y="832643"/>
                    <a:pt x="342691" y="857416"/>
                    <a:pt x="276630" y="857416"/>
                  </a:cubicBezTo>
                  <a:cubicBezTo>
                    <a:pt x="97715" y="857416"/>
                    <a:pt x="20644" y="697769"/>
                    <a:pt x="20644" y="529864"/>
                  </a:cubicBezTo>
                  <a:cubicBezTo>
                    <a:pt x="20644" y="320671"/>
                    <a:pt x="139003" y="216074"/>
                    <a:pt x="271125" y="216074"/>
                  </a:cubicBezTo>
                  <a:cubicBezTo>
                    <a:pt x="372969" y="216074"/>
                    <a:pt x="422515" y="271125"/>
                    <a:pt x="447288" y="309661"/>
                  </a:cubicBezTo>
                  <a:lnTo>
                    <a:pt x="450040" y="309661"/>
                  </a:lnTo>
                  <a:lnTo>
                    <a:pt x="450040" y="20644"/>
                  </a:lnTo>
                  <a:lnTo>
                    <a:pt x="609688" y="20644"/>
                  </a:lnTo>
                  <a:lnTo>
                    <a:pt x="609688" y="840901"/>
                  </a:lnTo>
                  <a:close/>
                </a:path>
              </a:pathLst>
            </a:custGeom>
            <a:solidFill>
              <a:schemeClr val="bg1"/>
            </a:solidFill>
            <a:ln w="9525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GB" sz="2400"/>
            </a:p>
          </p:txBody>
        </p:sp>
      </p:grpSp>
    </p:spTree>
    <p:extLst>
      <p:ext uri="{BB962C8B-B14F-4D97-AF65-F5344CB8AC3E}">
        <p14:creationId xmlns:p14="http://schemas.microsoft.com/office/powerpoint/2010/main" val="666894351"/>
      </p:ext>
    </p:extLst>
  </p:cSld>
  <p:clrMapOvr>
    <a:masterClrMapping/>
  </p:clrMapOvr>
  <p:transition>
    <p:fade/>
  </p:transition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93AFBA3F-70E9-423A-A243-375DD069F29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8118297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60" imgH="360" progId="TCLayout.ActiveDocument.1">
                  <p:embed/>
                </p:oleObj>
              </mc:Choice>
              <mc:Fallback>
                <p:oleObj name="think-cell Slide" r:id="rId4" imgW="360" imgH="36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93AFBA3F-70E9-423A-A243-375DD069F29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72AAD4DB-B387-4CBE-9C6B-9A8BEF9DD800}"/>
              </a:ext>
            </a:extLst>
          </p:cNvPr>
          <p:cNvSpPr/>
          <p:nvPr userDrawn="1">
            <p:custDataLst>
              <p:tags r:id="rId2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 err="1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1704110C-7FA9-42B8-8B3B-DA58E665BD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9"/>
            <a:ext cx="11101239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BBF5AF73-3EA7-4347-84EA-D70EBAC2F1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30373" y="356766"/>
            <a:ext cx="11102867" cy="574516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606775486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Graphic 10">
            <a:extLst>
              <a:ext uri="{FF2B5EF4-FFF2-40B4-BE49-F238E27FC236}">
                <a16:creationId xmlns:a16="http://schemas.microsoft.com/office/drawing/2014/main" id="{87CA7715-C5DB-4A2E-9532-A9F797EC577E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431021" y="6178549"/>
            <a:ext cx="1881099" cy="386768"/>
          </a:xfrm>
          <a:prstGeom prst="rect">
            <a:avLst/>
          </a:prstGeom>
        </p:spPr>
      </p:pic>
      <p:sp>
        <p:nvSpPr>
          <p:cNvPr id="12" name="Title 1">
            <a:extLst>
              <a:ext uri="{FF2B5EF4-FFF2-40B4-BE49-F238E27FC236}">
                <a16:creationId xmlns:a16="http://schemas.microsoft.com/office/drawing/2014/main" id="{65406806-C157-486B-910B-A52A24A4AAB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40262" y="1411820"/>
            <a:ext cx="5378452" cy="1157385"/>
          </a:xfrm>
        </p:spPr>
        <p:txBody>
          <a:bodyPr anchor="t" anchorCtr="0"/>
          <a:lstStyle>
            <a:lvl1pPr>
              <a:lnSpc>
                <a:spcPct val="80000"/>
              </a:lnSpc>
              <a:defRPr sz="4267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F50055F-31FC-4AB6-89E2-4D2F6BB14247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40262" y="3467401"/>
            <a:ext cx="5378452" cy="697563"/>
          </a:xfrm>
        </p:spPr>
        <p:txBody>
          <a:bodyPr/>
          <a:lstStyle>
            <a:lvl1pPr>
              <a:spcAft>
                <a:spcPts val="0"/>
              </a:spcAft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</a:lstStyle>
          <a:p>
            <a:pPr lvl="0"/>
            <a:r>
              <a:rPr lang="en-US"/>
              <a:t>Name</a:t>
            </a:r>
          </a:p>
          <a:p>
            <a:pPr lvl="1"/>
            <a:r>
              <a:rPr lang="en-US"/>
              <a:t>Date</a:t>
            </a:r>
            <a:endParaRPr lang="en-GB"/>
          </a:p>
        </p:txBody>
      </p:sp>
      <p:pic>
        <p:nvPicPr>
          <p:cNvPr id="9" name="Picture 8"/>
          <p:cNvPicPr>
            <a:picLocks noChangeAspect="1"/>
          </p:cNvPicPr>
          <p:nvPr userDrawn="1"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480" t="27066" r="32612"/>
          <a:stretch/>
        </p:blipFill>
        <p:spPr>
          <a:xfrm rot="16200000" flipV="1">
            <a:off x="6262073" y="928074"/>
            <a:ext cx="6858000" cy="500185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13716593"/>
      </p:ext>
    </p:extLst>
  </p:cSld>
  <p:clrMapOvr>
    <a:masterClrMapping/>
  </p:clrMapOvr>
  <p:transition>
    <p:fade/>
  </p:transition>
  <p:extLst>
    <p:ext uri="{DCECCB84-F9BA-43D5-87BE-67443E8EF086}">
      <p15:sldGuideLst xmlns:p15="http://schemas.microsoft.com/office/powerpoint/2012/main">
        <p15:guide id="1" orient="horz" pos="2880" userDrawn="1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6" y="1416052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2" y="1416668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8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2" y="6320567"/>
            <a:ext cx="9593887" cy="225703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18" algn="l"/>
              </a:tabLst>
            </a:pPr>
            <a:r>
              <a:rPr lang="en-GB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5" marR="0" lvl="2" indent="-120645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4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5" marR="0" lvl="2" indent="-120645" algn="l" defTabSz="121914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4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6" y="2853770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4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5" marR="0" lvl="2" indent="-120645" algn="l" defTabSz="121914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3583110705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9F52CBFD-699B-45C5-A157-E323D3A6D5CC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A54D8696-31B7-4DB8-B15D-873BDA46532E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6335184" y="1416668"/>
            <a:ext cx="5424000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4042441E-8F2C-4081-9DA0-77F80225EC06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1" name="Footer Placeholder 2">
            <a:extLst>
              <a:ext uri="{FF2B5EF4-FFF2-40B4-BE49-F238E27FC236}">
                <a16:creationId xmlns:a16="http://schemas.microsoft.com/office/drawing/2014/main" id="{EB7EAF22-09C0-49C9-9811-75AF4CD21686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4" name="Group 23">
            <a:extLst>
              <a:ext uri="{FF2B5EF4-FFF2-40B4-BE49-F238E27FC236}">
                <a16:creationId xmlns:a16="http://schemas.microsoft.com/office/drawing/2014/main" id="{96800D90-E2FB-42D1-8CB6-1955ED54612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5" name="Guidance note">
              <a:extLst>
                <a:ext uri="{FF2B5EF4-FFF2-40B4-BE49-F238E27FC236}">
                  <a16:creationId xmlns:a16="http://schemas.microsoft.com/office/drawing/2014/main" id="{819ED999-6999-46F4-B7A1-EFF10837A570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6" name="Group 25">
              <a:extLst>
                <a:ext uri="{FF2B5EF4-FFF2-40B4-BE49-F238E27FC236}">
                  <a16:creationId xmlns:a16="http://schemas.microsoft.com/office/drawing/2014/main" id="{1B633B5A-3193-4605-B154-E0B8CB89CCB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7" name="Picture 3">
                <a:extLst>
                  <a:ext uri="{FF2B5EF4-FFF2-40B4-BE49-F238E27FC236}">
                    <a16:creationId xmlns:a16="http://schemas.microsoft.com/office/drawing/2014/main" id="{585F499E-E2AE-40D1-BBDA-189BC79FDB95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8" name="Rounded Rectangle 20">
                <a:extLst>
                  <a:ext uri="{FF2B5EF4-FFF2-40B4-BE49-F238E27FC236}">
                    <a16:creationId xmlns:a16="http://schemas.microsoft.com/office/drawing/2014/main" id="{752EE2C4-E482-438A-9070-A14C38B61464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38366306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D0C88B5B-AAF5-47BD-AD69-1EE3F9438DF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0" y="1416668"/>
            <a:ext cx="5424817" cy="2503249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6337301" y="1416051"/>
            <a:ext cx="5402583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44373E4D-07C5-468F-A7BD-C7AD22C7764C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33" name="Group 32">
            <a:extLst>
              <a:ext uri="{FF2B5EF4-FFF2-40B4-BE49-F238E27FC236}">
                <a16:creationId xmlns:a16="http://schemas.microsoft.com/office/drawing/2014/main" id="{DBC6F12F-E651-47EF-873C-C4BCFD73026C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34" name="Guidance note">
              <a:extLst>
                <a:ext uri="{FF2B5EF4-FFF2-40B4-BE49-F238E27FC236}">
                  <a16:creationId xmlns:a16="http://schemas.microsoft.com/office/drawing/2014/main" id="{F95C3436-B6EE-47A5-8CDF-DFC1CEE6A78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35" name="Group 34">
              <a:extLst>
                <a:ext uri="{FF2B5EF4-FFF2-40B4-BE49-F238E27FC236}">
                  <a16:creationId xmlns:a16="http://schemas.microsoft.com/office/drawing/2014/main" id="{F50E3572-442E-4063-AED5-829AB7EAA7C3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6" name="Picture 3">
                <a:extLst>
                  <a:ext uri="{FF2B5EF4-FFF2-40B4-BE49-F238E27FC236}">
                    <a16:creationId xmlns:a16="http://schemas.microsoft.com/office/drawing/2014/main" id="{97890FFF-8342-4E6A-B73E-44D0FCF7A25E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7" name="Rounded Rectangle 20">
                <a:extLst>
                  <a:ext uri="{FF2B5EF4-FFF2-40B4-BE49-F238E27FC236}">
                    <a16:creationId xmlns:a16="http://schemas.microsoft.com/office/drawing/2014/main" id="{C5F8D64F-558B-4EE8-B969-C40A6125D25D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39" name="Round Diagonal Corner Rectangle 4">
            <a:extLst>
              <a:ext uri="{FF2B5EF4-FFF2-40B4-BE49-F238E27FC236}">
                <a16:creationId xmlns:a16="http://schemas.microsoft.com/office/drawing/2014/main" id="{DEEFE2A4-9E60-4329-8F38-C8621FA2D86F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22396611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+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6AD82B2-07C2-46E9-9678-D1F4F1426BEA}"/>
              </a:ext>
            </a:extLst>
          </p:cNvPr>
          <p:cNvSpPr>
            <a:spLocks noGrp="1"/>
          </p:cNvSpPr>
          <p:nvPr>
            <p:ph type="pic" sz="quarter" idx="18" hasCustomPrompt="1"/>
          </p:nvPr>
        </p:nvSpPr>
        <p:spPr>
          <a:xfrm>
            <a:off x="8303685" y="1416051"/>
            <a:ext cx="3436199" cy="4605867"/>
          </a:xfrm>
          <a:solidFill>
            <a:schemeClr val="bg1">
              <a:lumMod val="95000"/>
            </a:schemeClr>
          </a:solidFill>
        </p:spPr>
        <p:txBody>
          <a:bodyPr anchor="ctr">
            <a:noAutofit/>
          </a:bodyPr>
          <a:lstStyle>
            <a:lvl1pPr algn="ctr">
              <a:defRPr/>
            </a:lvl1pPr>
          </a:lstStyle>
          <a:p>
            <a:r>
              <a:rPr lang="en-GB"/>
              <a:t>INSERT PICTURE</a:t>
            </a:r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96A9E21F-48B1-4B1C-A7BD-A425530A3B2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A5B8ED1A-AF6F-4E25-AAB2-26D9DEBFF562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34BB6730-51C5-4FB3-8052-D9905AB1484A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3" name="Footer Placeholder 2">
            <a:extLst>
              <a:ext uri="{FF2B5EF4-FFF2-40B4-BE49-F238E27FC236}">
                <a16:creationId xmlns:a16="http://schemas.microsoft.com/office/drawing/2014/main" id="{E89C5F10-0515-49F1-B7E1-FA5D252EBE48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4" name="Group 13">
            <a:extLst>
              <a:ext uri="{FF2B5EF4-FFF2-40B4-BE49-F238E27FC236}">
                <a16:creationId xmlns:a16="http://schemas.microsoft.com/office/drawing/2014/main" id="{566203AC-F147-41C5-B406-E8249CBBDB54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5" name="Guidance note">
              <a:extLst>
                <a:ext uri="{FF2B5EF4-FFF2-40B4-BE49-F238E27FC236}">
                  <a16:creationId xmlns:a16="http://schemas.microsoft.com/office/drawing/2014/main" id="{464C2E21-214C-4806-9F3E-C69A825582DD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6" name="Group 15">
              <a:extLst>
                <a:ext uri="{FF2B5EF4-FFF2-40B4-BE49-F238E27FC236}">
                  <a16:creationId xmlns:a16="http://schemas.microsoft.com/office/drawing/2014/main" id="{DE56EF6B-B396-42F9-B229-E1E18A219AB6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7" name="Picture 3">
                <a:extLst>
                  <a:ext uri="{FF2B5EF4-FFF2-40B4-BE49-F238E27FC236}">
                    <a16:creationId xmlns:a16="http://schemas.microsoft.com/office/drawing/2014/main" id="{8EB1562C-2ED4-4AC8-AFE4-22D14FADBFF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2" name="Rounded Rectangle 20">
                <a:extLst>
                  <a:ext uri="{FF2B5EF4-FFF2-40B4-BE49-F238E27FC236}">
                    <a16:creationId xmlns:a16="http://schemas.microsoft.com/office/drawing/2014/main" id="{E1BE0287-66BC-469E-9977-A30B88F00C15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  <p:sp>
        <p:nvSpPr>
          <p:cNvPr id="23" name="Round Diagonal Corner Rectangle 4">
            <a:extLst>
              <a:ext uri="{FF2B5EF4-FFF2-40B4-BE49-F238E27FC236}">
                <a16:creationId xmlns:a16="http://schemas.microsoft.com/office/drawing/2014/main" id="{529E9B37-4CA4-410B-848A-FE86FF6F9510}"/>
              </a:ext>
            </a:extLst>
          </p:cNvPr>
          <p:cNvSpPr/>
          <p:nvPr userDrawn="1"/>
        </p:nvSpPr>
        <p:spPr>
          <a:xfrm>
            <a:off x="12275234" y="2853769"/>
            <a:ext cx="2707513" cy="2821899"/>
          </a:xfrm>
          <a:prstGeom prst="rect">
            <a:avLst/>
          </a:prstGeom>
          <a:solidFill>
            <a:sysClr val="window" lastClr="FFFFFF">
              <a:lumMod val="95000"/>
            </a:sysClr>
          </a:solidFill>
          <a:ln w="6350" cap="flat" cmpd="sng" algn="ctr">
            <a:noFill/>
            <a:prstDash val="solid"/>
            <a:miter lim="800000"/>
          </a:ln>
          <a:effectLst/>
        </p:spPr>
        <p:txBody>
          <a:bodyPr wrap="square" lIns="56184" tIns="56184" rIns="56184" bIns="56184" rtlCol="0" anchor="t" anchorCtr="0">
            <a:spAutoFit/>
          </a:bodyPr>
          <a:lstStyle/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mage placeholders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This layout is set with a picture placeholder for photography. To insert an image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‘picture placeholder icon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Navigate to the file and insert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Updating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lick on the image you wish to chan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Delete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Follow the steps as above to insert an image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Cropp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When the image is inserted it may not automatically show the part of the image you want. To change what is shown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the im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Go to ‘Format’ tab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Crop’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You can now move the image within the placeholder.</a:t>
            </a:r>
          </a:p>
          <a:p>
            <a:pPr marL="0" marR="0" lvl="0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1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esizing image</a:t>
            </a:r>
          </a:p>
          <a:p>
            <a:pPr marL="0" marR="0" lvl="1" indent="0" defTabSz="121917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If the shape of the image resizes too small or big, you can reset the placeholder by: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Right-click on the page</a:t>
            </a:r>
          </a:p>
          <a:p>
            <a:pPr marL="120648" marR="0" lvl="2" indent="-120648" algn="l" defTabSz="121917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prstClr val="black"/>
              </a:buClr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rPr>
              <a:t>Select ‘reset slide’ (note: Using this action will reset all of the manual formatting on the page)</a:t>
            </a:r>
          </a:p>
        </p:txBody>
      </p:sp>
    </p:spTree>
    <p:extLst>
      <p:ext uri="{BB962C8B-B14F-4D97-AF65-F5344CB8AC3E}">
        <p14:creationId xmlns:p14="http://schemas.microsoft.com/office/powerpoint/2010/main" val="78559715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re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2001" y="1416667"/>
            <a:ext cx="3456319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8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5281" y="1416667"/>
            <a:ext cx="3456000" cy="2092880"/>
          </a:xfrm>
        </p:spPr>
        <p:txBody>
          <a:bodyPr wrap="square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EC8401A2-6451-4E45-96E0-C555AE389B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11993E21-89C4-43F1-B0DA-3D71670B0B04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13" name="Group 12">
            <a:extLst>
              <a:ext uri="{FF2B5EF4-FFF2-40B4-BE49-F238E27FC236}">
                <a16:creationId xmlns:a16="http://schemas.microsoft.com/office/drawing/2014/main" id="{E2EC9A99-CBD6-4BA5-A71D-10F2DFE9CFA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6ADE5D12-11A2-4CCE-81CB-203511BF5C3F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E081217D-4EA5-40B0-9EA6-FAD35195E17C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464DB892-B193-4994-87A1-F3005D1BEA0D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5" name="Rounded Rectangle 20">
                <a:extLst>
                  <a:ext uri="{FF2B5EF4-FFF2-40B4-BE49-F238E27FC236}">
                    <a16:creationId xmlns:a16="http://schemas.microsoft.com/office/drawing/2014/main" id="{4CE544B9-8DF2-4C6C-B878-A4384379E280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916480729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3">
            <a:extLst>
              <a:ext uri="{FF2B5EF4-FFF2-40B4-BE49-F238E27FC236}">
                <a16:creationId xmlns:a16="http://schemas.microsoft.com/office/drawing/2014/main" id="{0930CD1D-A41A-4185-9CFA-885F60C5B505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431999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6" name="Text Placeholder 4">
            <a:extLst>
              <a:ext uri="{FF2B5EF4-FFF2-40B4-BE49-F238E27FC236}">
                <a16:creationId xmlns:a16="http://schemas.microsoft.com/office/drawing/2014/main" id="{C5ABD336-6DA0-4C14-8548-610B7CB3FDD3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8304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1896A342-D873-47FF-A0CB-ED762BAF6C0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2" name="Footer Placeholder 2">
            <a:extLst>
              <a:ext uri="{FF2B5EF4-FFF2-40B4-BE49-F238E27FC236}">
                <a16:creationId xmlns:a16="http://schemas.microsoft.com/office/drawing/2014/main" id="{F1F48095-532B-4817-BFFB-AF6AF6A81C53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6" name="Group 25">
            <a:extLst>
              <a:ext uri="{FF2B5EF4-FFF2-40B4-BE49-F238E27FC236}">
                <a16:creationId xmlns:a16="http://schemas.microsoft.com/office/drawing/2014/main" id="{B2F101B0-C15C-4E8B-BCD8-94C6F9FA8B71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7" name="Guidance note">
              <a:extLst>
                <a:ext uri="{FF2B5EF4-FFF2-40B4-BE49-F238E27FC236}">
                  <a16:creationId xmlns:a16="http://schemas.microsoft.com/office/drawing/2014/main" id="{5019EF20-6B36-43C9-BDEB-3621A64EB545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8" name="Group 27">
              <a:extLst>
                <a:ext uri="{FF2B5EF4-FFF2-40B4-BE49-F238E27FC236}">
                  <a16:creationId xmlns:a16="http://schemas.microsoft.com/office/drawing/2014/main" id="{B21C0FE1-B9EF-4B93-932D-4FD8C477B3AE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29" name="Picture 3">
                <a:extLst>
                  <a:ext uri="{FF2B5EF4-FFF2-40B4-BE49-F238E27FC236}">
                    <a16:creationId xmlns:a16="http://schemas.microsoft.com/office/drawing/2014/main" id="{7C1D4B64-6112-4E50-93D6-4D6DF530DF8A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0" name="Rounded Rectangle 20">
                <a:extLst>
                  <a:ext uri="{FF2B5EF4-FFF2-40B4-BE49-F238E27FC236}">
                    <a16:creationId xmlns:a16="http://schemas.microsoft.com/office/drawing/2014/main" id="{4E55863B-5F7C-47FB-BB27-4E84CB7B252B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635992851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 + text le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 Placeholder 3">
            <a:extLst>
              <a:ext uri="{FF2B5EF4-FFF2-40B4-BE49-F238E27FC236}">
                <a16:creationId xmlns:a16="http://schemas.microsoft.com/office/drawing/2014/main" id="{05C4283E-702E-4783-AE1B-598C33ABADE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4368000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1" name="Text Placeholder 3">
            <a:extLst>
              <a:ext uri="{FF2B5EF4-FFF2-40B4-BE49-F238E27FC236}">
                <a16:creationId xmlns:a16="http://schemas.microsoft.com/office/drawing/2014/main" id="{0AFD44EC-D9DC-4A2D-91EF-9F07DE3F1CEF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431999" y="1416667"/>
            <a:ext cx="3456000" cy="2872581"/>
          </a:xfrm>
        </p:spPr>
        <p:txBody>
          <a:bodyPr wrap="square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CDD6B893-85E5-4E35-9461-E7E97ADE1D4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22177FB2-8BB7-4D7D-AD52-7C859E8DFE46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>
          <a:xfrm>
            <a:off x="8304000" y="1416667"/>
            <a:ext cx="3456000" cy="3552000"/>
          </a:xfrm>
          <a:solidFill>
            <a:srgbClr val="0073CD"/>
          </a:solidFill>
        </p:spPr>
        <p:txBody>
          <a:bodyPr wrap="square" lIns="144000" tIns="108000" rIns="144000" bIns="108000">
            <a:noAutofit/>
          </a:bodyPr>
          <a:lstStyle>
            <a:lvl1pPr>
              <a:spcAft>
                <a:spcPts val="800"/>
              </a:spcAft>
              <a:defRPr sz="2400">
                <a:solidFill>
                  <a:schemeClr val="bg1"/>
                </a:solidFill>
              </a:defRPr>
            </a:lvl1pPr>
            <a:lvl2pPr>
              <a:spcAft>
                <a:spcPts val="0"/>
              </a:spcAft>
              <a:defRPr sz="2133">
                <a:solidFill>
                  <a:schemeClr val="bg1"/>
                </a:solidFill>
              </a:defRPr>
            </a:lvl2pPr>
            <a:lvl3pPr marL="0" indent="0">
              <a:spcAft>
                <a:spcPts val="0"/>
              </a:spcAft>
              <a:buClr>
                <a:schemeClr val="bg1"/>
              </a:buClr>
              <a:buFontTx/>
              <a:buNone/>
              <a:defRPr sz="2133">
                <a:solidFill>
                  <a:schemeClr val="bg1"/>
                </a:solidFill>
              </a:defRPr>
            </a:lvl3pPr>
            <a:lvl4pPr>
              <a:buClr>
                <a:schemeClr val="bg1"/>
              </a:buClr>
              <a:defRPr>
                <a:solidFill>
                  <a:schemeClr val="bg1"/>
                </a:solidFill>
              </a:defRPr>
            </a:lvl4pPr>
            <a:lvl5pPr>
              <a:buClr>
                <a:schemeClr val="bg1"/>
              </a:buCl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</p:txBody>
      </p:sp>
      <p:sp>
        <p:nvSpPr>
          <p:cNvPr id="16" name="Footer Placeholder 2">
            <a:extLst>
              <a:ext uri="{FF2B5EF4-FFF2-40B4-BE49-F238E27FC236}">
                <a16:creationId xmlns:a16="http://schemas.microsoft.com/office/drawing/2014/main" id="{CC0BFDE7-E46E-4D15-A8FA-219C8CB4D49F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>
          <a:xfrm>
            <a:off x="1646451" y="6320502"/>
            <a:ext cx="9593887" cy="225767"/>
          </a:xfrm>
        </p:spPr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grpSp>
        <p:nvGrpSpPr>
          <p:cNvPr id="27" name="Group 26">
            <a:extLst>
              <a:ext uri="{FF2B5EF4-FFF2-40B4-BE49-F238E27FC236}">
                <a16:creationId xmlns:a16="http://schemas.microsoft.com/office/drawing/2014/main" id="{A6F0B578-E378-46F0-A4C9-1552A629C76D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28" name="Guidance note">
              <a:extLst>
                <a:ext uri="{FF2B5EF4-FFF2-40B4-BE49-F238E27FC236}">
                  <a16:creationId xmlns:a16="http://schemas.microsoft.com/office/drawing/2014/main" id="{F2DEB423-320E-404F-8B3B-CCFAFB4B5554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29" name="Group 28">
              <a:extLst>
                <a:ext uri="{FF2B5EF4-FFF2-40B4-BE49-F238E27FC236}">
                  <a16:creationId xmlns:a16="http://schemas.microsoft.com/office/drawing/2014/main" id="{E3BE6250-E57A-419B-A962-5A85632A71B4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30" name="Picture 3">
                <a:extLst>
                  <a:ext uri="{FF2B5EF4-FFF2-40B4-BE49-F238E27FC236}">
                    <a16:creationId xmlns:a16="http://schemas.microsoft.com/office/drawing/2014/main" id="{3815D591-B560-4B71-ACE3-786F10B3EDFB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31" name="Rounded Rectangle 20">
                <a:extLst>
                  <a:ext uri="{FF2B5EF4-FFF2-40B4-BE49-F238E27FC236}">
                    <a16:creationId xmlns:a16="http://schemas.microsoft.com/office/drawing/2014/main" id="{D9C85BF9-7030-4B6C-A627-472B55A9DB32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171058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ey mess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6B24DF50-EEA0-4A06-8714-8D21D9F9F14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>
            <a:lvl1pPr>
              <a:defRPr b="0"/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A84F1565-A4B3-45DC-B4DE-67F62117E509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4" y="1424518"/>
            <a:ext cx="7392828" cy="250324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F0DD9BE2-305C-49B6-A828-7CE17E3814A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GB"/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D3A5251B-0820-4ADA-9A19-8246D2702489}"/>
              </a:ext>
            </a:extLst>
          </p:cNvPr>
          <p:cNvGrpSpPr/>
          <p:nvPr userDrawn="1"/>
        </p:nvGrpSpPr>
        <p:grpSpPr>
          <a:xfrm>
            <a:off x="12275233" y="1"/>
            <a:ext cx="2706315" cy="2781137"/>
            <a:chOff x="3528102" y="847657"/>
            <a:chExt cx="2029736" cy="2085853"/>
          </a:xfrm>
        </p:grpSpPr>
        <p:sp>
          <p:nvSpPr>
            <p:cNvPr id="17" name="Guidance note">
              <a:extLst>
                <a:ext uri="{FF2B5EF4-FFF2-40B4-BE49-F238E27FC236}">
                  <a16:creationId xmlns:a16="http://schemas.microsoft.com/office/drawing/2014/main" id="{312A308F-3064-47BA-AC60-32EDEEDAB44B}"/>
                </a:ext>
              </a:extLst>
            </p:cNvPr>
            <p:cNvSpPr/>
            <p:nvPr/>
          </p:nvSpPr>
          <p:spPr>
            <a:xfrm>
              <a:off x="3528102" y="847657"/>
              <a:ext cx="2029736" cy="2085853"/>
            </a:xfrm>
            <a:prstGeom prst="rect">
              <a:avLst/>
            </a:prstGeom>
            <a:solidFill>
              <a:sysClr val="window" lastClr="FFFFFF">
                <a:lumMod val="95000"/>
              </a:sysClr>
            </a:solidFill>
            <a:ln w="6350" cap="flat" cmpd="sng" algn="ctr">
              <a:noFill/>
              <a:prstDash val="solid"/>
              <a:miter lim="800000"/>
            </a:ln>
            <a:effectLst/>
          </p:spPr>
          <p:txBody>
            <a:bodyPr wrap="square" lIns="36000" tIns="36000" rIns="36000" bIns="36000" rtlCol="0" anchor="t" anchorCtr="0">
              <a:spAutoFit/>
            </a:bodyPr>
            <a:lstStyle/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eapplying the Slide Layout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Putting text into a placeholder not only ensures the text sits in the correct place and is formatted correctly, it also helps to update the page quickly and efficiently. 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Right click on the page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on ‘Layout’</a:t>
              </a:r>
            </a:p>
            <a:p>
              <a:pPr marL="120648" marR="0" lvl="2" indent="-120648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elect the layout you require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ext bullet formatting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use text/bullet formatting levels correctly, use the Increase List Level and Decrease List Level buttons from the Paragraph group on the Home tab</a:t>
              </a: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963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8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Arial" panose="020B0604020202020204" pitchFamily="34" charset="0"/>
              </a:endParaRP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Alternatively you can use the keyboard shortcuts: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Right arrow key = increase level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Shift+Alt+Left arrow key = decrease level</a:t>
              </a:r>
            </a:p>
            <a:p>
              <a:pPr marL="0" marR="0" lvl="2" indent="0" defTabSz="121917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en-GB" sz="800" b="1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Guides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To ensure all other elements aside from placeholders are positioned correctly, switch your drawing guides on</a:t>
              </a:r>
            </a:p>
            <a:p>
              <a:pPr marL="120648" marR="0" lvl="2" indent="-120648" algn="l" defTabSz="121917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>
                  <a:prstClr val="black"/>
                </a:buClr>
                <a:buSzTx/>
                <a:buFont typeface="Arial" panose="020B0604020202020204" pitchFamily="34" charset="0"/>
                <a:buChar char="•"/>
                <a:tabLst/>
                <a:defRPr/>
              </a:pPr>
              <a:r>
                <a: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Arial" panose="020B0604020202020204" pitchFamily="34" charset="0"/>
                </a:rPr>
                <a:t>Click Alt+F9</a:t>
              </a:r>
            </a:p>
          </p:txBody>
        </p:sp>
        <p:grpSp>
          <p:nvGrpSpPr>
            <p:cNvPr id="18" name="Group 17">
              <a:extLst>
                <a:ext uri="{FF2B5EF4-FFF2-40B4-BE49-F238E27FC236}">
                  <a16:creationId xmlns:a16="http://schemas.microsoft.com/office/drawing/2014/main" id="{2FAF13CC-EB75-491E-ADC5-099192BFB81F}"/>
                </a:ext>
              </a:extLst>
            </p:cNvPr>
            <p:cNvGrpSpPr/>
            <p:nvPr/>
          </p:nvGrpSpPr>
          <p:grpSpPr bwMode="gray">
            <a:xfrm>
              <a:off x="3568059" y="1907313"/>
              <a:ext cx="1038536" cy="360283"/>
              <a:chOff x="4736026" y="-3144621"/>
              <a:chExt cx="1698109" cy="589139"/>
            </a:xfrm>
            <a:solidFill>
              <a:srgbClr val="A5A5A5">
                <a:lumMod val="20000"/>
                <a:lumOff val="80000"/>
              </a:srgbClr>
            </a:solidFill>
          </p:grpSpPr>
          <p:pic>
            <p:nvPicPr>
              <p:cNvPr id="19" name="Picture 3">
                <a:extLst>
                  <a:ext uri="{FF2B5EF4-FFF2-40B4-BE49-F238E27FC236}">
                    <a16:creationId xmlns:a16="http://schemas.microsoft.com/office/drawing/2014/main" id="{A9488914-4AA4-477A-966D-3FA45BA9AD04}"/>
                  </a:ext>
                </a:extLst>
              </p:cNvPr>
              <p:cNvPicPr>
                <a:picLocks noChangeAspect="1" noChangeArrowheads="1"/>
              </p:cNvPicPr>
              <p:nvPr/>
            </p:nvPicPr>
            <p:blipFill>
              <a:blip r:embed="rId2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gray">
              <a:xfrm>
                <a:off x="4736026" y="-3144621"/>
                <a:ext cx="1698109" cy="589139"/>
              </a:xfrm>
              <a:prstGeom prst="rect">
                <a:avLst/>
              </a:prstGeom>
              <a:grpFill/>
              <a:ln>
                <a:noFill/>
              </a:ln>
              <a:extLst>
                <a:ext uri="{91240B29-F687-4F45-9708-019B960494DF}">
                  <a14:hiddenLine xmlns:a14="http://schemas.microsoft.com/office/drawing/2010/main" w="9525">
                    <a:solidFill>
                      <a:schemeClr val="tx1"/>
                    </a:solidFill>
                    <a:miter lim="800000"/>
                    <a:headEnd/>
                    <a:tailEnd/>
                  </a14:hiddenLine>
                </a:ext>
              </a:extLst>
            </p:spPr>
          </p:pic>
          <p:sp>
            <p:nvSpPr>
              <p:cNvPr id="20" name="Rounded Rectangle 20">
                <a:extLst>
                  <a:ext uri="{FF2B5EF4-FFF2-40B4-BE49-F238E27FC236}">
                    <a16:creationId xmlns:a16="http://schemas.microsoft.com/office/drawing/2014/main" id="{6261C382-D82C-4A0D-BCAA-2DFF1F81BFD8}"/>
                  </a:ext>
                </a:extLst>
              </p:cNvPr>
              <p:cNvSpPr/>
              <p:nvPr/>
            </p:nvSpPr>
            <p:spPr bwMode="gray">
              <a:xfrm>
                <a:off x="5292025" y="-3085266"/>
                <a:ext cx="346227" cy="166715"/>
              </a:xfrm>
              <a:prstGeom prst="roundRect">
                <a:avLst>
                  <a:gd name="adj" fmla="val 20963"/>
                </a:avLst>
              </a:prstGeom>
              <a:noFill/>
              <a:ln w="19050" cap="flat" cmpd="sng" algn="ctr">
                <a:solidFill>
                  <a:srgbClr val="FF0000"/>
                </a:solidFill>
                <a:prstDash val="solid"/>
                <a:miter lim="800000"/>
              </a:ln>
              <a:effectLst/>
            </p:spPr>
            <p:txBody>
              <a:bodyPr rtlCol="0" anchor="ctr"/>
              <a:lstStyle/>
              <a:p>
                <a:pPr marL="0" marR="0" lvl="0" indent="0" algn="ctr" defTabSz="1219170" eaLnBrk="1" fontAlgn="auto" latinLnBrk="0" hangingPunct="1">
                  <a:lnSpc>
                    <a:spcPct val="100000"/>
                  </a:lnSpc>
                  <a:spcBef>
                    <a:spcPts val="0"/>
                  </a:spcBef>
                  <a:spcAft>
                    <a:spcPts val="364"/>
                  </a:spcAft>
                  <a:buClrTx/>
                  <a:buSzTx/>
                  <a:buFontTx/>
                  <a:buNone/>
                  <a:tabLst/>
                  <a:defRPr/>
                </a:pPr>
                <a:endParaRPr kumimoji="0" lang="en-GB" sz="800" b="0" i="0" u="none" strike="noStrike" kern="1200" cap="none" spc="0" normalizeH="0" baseline="0" noProof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Calibri" panose="020F0502020204030204"/>
                  <a:ea typeface="+mn-ea"/>
                  <a:cs typeface="+mn-cs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740859"/>
      </p:ext>
    </p:extLst>
  </p:cSld>
  <p:clrMapOvr>
    <a:masterClrMapping/>
  </p:clrMapOvr>
  <p:transition>
    <p:fade/>
  </p:transition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3" Type="http://schemas.openxmlformats.org/officeDocument/2006/relationships/slideLayout" Target="../slideLayouts/slideLayout3.xml"/><Relationship Id="rId21" Type="http://schemas.openxmlformats.org/officeDocument/2006/relationships/tags" Target="../tags/tag2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image" Target="../media/image1.emf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ags" Target="../tags/tag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tags" Target="../tags/tag4.xml"/><Relationship Id="rId3" Type="http://schemas.openxmlformats.org/officeDocument/2006/relationships/slideLayout" Target="../slideLayouts/slideLayout22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21.xml"/><Relationship Id="rId1" Type="http://schemas.openxmlformats.org/officeDocument/2006/relationships/slideLayout" Target="../slideLayouts/slideLayout20.xml"/><Relationship Id="rId6" Type="http://schemas.openxmlformats.org/officeDocument/2006/relationships/slideLayout" Target="../slideLayouts/slideLayout25.xml"/><Relationship Id="rId11" Type="http://schemas.openxmlformats.org/officeDocument/2006/relationships/image" Target="../media/image7.emf"/><Relationship Id="rId5" Type="http://schemas.openxmlformats.org/officeDocument/2006/relationships/slideLayout" Target="../slideLayouts/slideLayout24.xml"/><Relationship Id="rId10" Type="http://schemas.openxmlformats.org/officeDocument/2006/relationships/oleObject" Target="../embeddings/oleObject2.bin"/><Relationship Id="rId4" Type="http://schemas.openxmlformats.org/officeDocument/2006/relationships/slideLayout" Target="../slideLayouts/slideLayout23.xml"/><Relationship Id="rId9" Type="http://schemas.openxmlformats.org/officeDocument/2006/relationships/tags" Target="../tags/tag5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emf"/><Relationship Id="rId3" Type="http://schemas.openxmlformats.org/officeDocument/2006/relationships/slideLayout" Target="../slideLayouts/slideLayout28.xml"/><Relationship Id="rId7" Type="http://schemas.openxmlformats.org/officeDocument/2006/relationships/oleObject" Target="../embeddings/oleObject4.bin"/><Relationship Id="rId2" Type="http://schemas.openxmlformats.org/officeDocument/2006/relationships/slideLayout" Target="../slideLayouts/slideLayout27.xml"/><Relationship Id="rId1" Type="http://schemas.openxmlformats.org/officeDocument/2006/relationships/slideLayout" Target="../slideLayouts/slideLayout26.xml"/><Relationship Id="rId6" Type="http://schemas.openxmlformats.org/officeDocument/2006/relationships/tags" Target="../tags/tag9.xml"/><Relationship Id="rId5" Type="http://schemas.openxmlformats.org/officeDocument/2006/relationships/tags" Target="../tags/tag8.xml"/><Relationship Id="rId4" Type="http://schemas.openxmlformats.org/officeDocument/2006/relationships/theme" Target="../theme/theme3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D7077B87-3422-4388-8758-551D88FEA5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1"/>
            </p:custDataLst>
            <p:extLst>
              <p:ext uri="{D42A27DB-BD31-4B8C-83A1-F6EECF244321}">
                <p14:modId xmlns:p14="http://schemas.microsoft.com/office/powerpoint/2010/main" val="835653685"/>
              </p:ext>
            </p:extLst>
          </p:nvPr>
        </p:nvGraphicFramePr>
        <p:xfrm>
          <a:off x="2118" y="2118"/>
          <a:ext cx="2117" cy="211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3" imgW="347" imgH="348" progId="TCLayout.ActiveDocument.1">
                  <p:embed/>
                </p:oleObj>
              </mc:Choice>
              <mc:Fallback>
                <p:oleObj name="think-cell Slide" r:id="rId23" imgW="347" imgH="348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D7077B87-3422-4388-8758-551D88FEA5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4"/>
                      <a:stretch>
                        <a:fillRect/>
                      </a:stretch>
                    </p:blipFill>
                    <p:spPr>
                      <a:xfrm>
                        <a:off x="2118" y="2118"/>
                        <a:ext cx="2117" cy="211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AD663182-2F53-4B01-AB6F-460794093E7F}"/>
              </a:ext>
            </a:extLst>
          </p:cNvPr>
          <p:cNvSpPr/>
          <p:nvPr userDrawn="1">
            <p:custDataLst>
              <p:tags r:id="rId22"/>
            </p:custDataLst>
          </p:nvPr>
        </p:nvSpPr>
        <p:spPr bwMode="auto">
          <a:xfrm>
            <a:off x="0" y="0"/>
            <a:ext cx="211667" cy="211667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600"/>
              </a:spcAft>
            </a:pPr>
            <a:endParaRPr lang="en-US" sz="32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5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4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GB"/>
              <a:t>Heading 1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  <a:p>
            <a:pPr lvl="5"/>
            <a:r>
              <a:rPr lang="en-GB"/>
              <a:t>Sixth level</a:t>
            </a:r>
          </a:p>
          <a:p>
            <a:pPr lvl="6"/>
            <a:r>
              <a:rPr lang="en-GB"/>
              <a:t>Seventh level</a:t>
            </a:r>
          </a:p>
          <a:p>
            <a:pPr lvl="7"/>
            <a:r>
              <a:rPr lang="en-GB"/>
              <a:t>Eighth level</a:t>
            </a:r>
          </a:p>
          <a:p>
            <a:pPr lvl="8"/>
            <a:r>
              <a:rPr lang="en-GB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0" y="6320502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DB12DA87-6564-4220-A5E6-DF04389D5C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646451" y="6320502"/>
            <a:ext cx="959388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lvl1pPr algn="l">
              <a:defRPr lang="en-GB" sz="1467" b="0" dirty="0">
                <a:solidFill>
                  <a:schemeClr val="accent1"/>
                </a:solidFill>
                <a:latin typeface="+mn-lt"/>
                <a:ea typeface="+mn-ea"/>
              </a:defRPr>
            </a:lvl1pPr>
          </a:lstStyle>
          <a:p>
            <a:pPr>
              <a:tabLst>
                <a:tab pos="1318651" algn="l"/>
              </a:tabLst>
            </a:pPr>
            <a:r>
              <a:rPr lang="fr-FR"/>
              <a:t>| [Insert document title] | [Insert date]</a:t>
            </a: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4" y="6320501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51" algn="l"/>
              </a:tabLst>
            </a:pPr>
            <a:r>
              <a:rPr lang="en-GB" sz="1467" b="1"/>
              <a:t>National Grid </a:t>
            </a:r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sldLayoutIdLst>
    <p:sldLayoutId id="2147483785" r:id="rId1"/>
    <p:sldLayoutId id="2147483800" r:id="rId2"/>
    <p:sldLayoutId id="2147483801" r:id="rId3"/>
    <p:sldLayoutId id="2147483803" r:id="rId4"/>
    <p:sldLayoutId id="2147483813" r:id="rId5"/>
    <p:sldLayoutId id="2147483804" r:id="rId6"/>
    <p:sldLayoutId id="2147483805" r:id="rId7"/>
    <p:sldLayoutId id="2147483806" r:id="rId8"/>
    <p:sldLayoutId id="2147483786" r:id="rId9"/>
    <p:sldLayoutId id="2147483808" r:id="rId10"/>
    <p:sldLayoutId id="2147483809" r:id="rId11"/>
    <p:sldLayoutId id="2147483814" r:id="rId12"/>
    <p:sldLayoutId id="2147483810" r:id="rId13"/>
    <p:sldLayoutId id="2147483811" r:id="rId14"/>
    <p:sldLayoutId id="2147483812" r:id="rId15"/>
    <p:sldLayoutId id="2147483790" r:id="rId16"/>
    <p:sldLayoutId id="2147483815" r:id="rId17"/>
    <p:sldLayoutId id="2147483816" r:id="rId18"/>
    <p:sldLayoutId id="2147483784" r:id="rId19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32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4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8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430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73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91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82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73" indent="-359991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94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88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82" indent="-239994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8"/>
            </p:custDataLst>
            <p:extLst>
              <p:ext uri="{D42A27DB-BD31-4B8C-83A1-F6EECF244321}">
                <p14:modId xmlns:p14="http://schemas.microsoft.com/office/powerpoint/2010/main" val="84185338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0" imgW="270" imgH="270" progId="TCLayout.ActiveDocument.1">
                  <p:embed/>
                </p:oleObj>
              </mc:Choice>
              <mc:Fallback>
                <p:oleObj name="think-cell Slide" r:id="rId10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1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9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22427646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18" r:id="rId1"/>
    <p:sldLayoutId id="2147483819" r:id="rId2"/>
    <p:sldLayoutId id="2147483820" r:id="rId3"/>
    <p:sldLayoutId id="2147483821" r:id="rId4"/>
    <p:sldLayoutId id="2147483822" r:id="rId5"/>
    <p:sldLayoutId id="2147483823" r:id="rId6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886524B7-D5EE-4904-8FE2-A8AF6A0BA51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3830906459"/>
              </p:ext>
            </p:extLst>
          </p:nvPr>
        </p:nvGraphicFramePr>
        <p:xfrm>
          <a:off x="1589" y="1589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7" imgW="270" imgH="270" progId="TCLayout.ActiveDocument.1">
                  <p:embed/>
                </p:oleObj>
              </mc:Choice>
              <mc:Fallback>
                <p:oleObj name="think-cell Slide" r:id="rId7" imgW="270" imgH="270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886524B7-D5EE-4904-8FE2-A8AF6A0BA51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8"/>
                      <a:stretch>
                        <a:fillRect/>
                      </a:stretch>
                    </p:blipFill>
                    <p:spPr>
                      <a:xfrm>
                        <a:off x="1589" y="1589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id="{8B43539B-4958-4C84-9B5E-7760A6CA0A53}"/>
              </a:ext>
            </a:extLst>
          </p:cNvPr>
          <p:cNvSpPr/>
          <p:nvPr userDrawn="1">
            <p:custDataLst>
              <p:tags r:id="rId6"/>
            </p:custDataLst>
          </p:nvPr>
        </p:nvSpPr>
        <p:spPr bwMode="auto">
          <a:xfrm>
            <a:off x="1" y="1"/>
            <a:ext cx="158751" cy="158751"/>
          </a:xfrm>
          <a:prstGeom prst="rect">
            <a:avLst/>
          </a:prstGeom>
          <a:solidFill>
            <a:schemeClr val="accent1"/>
          </a:solidFill>
          <a:ln w="9525" cap="flat" cmpd="sng" algn="ctr">
            <a:noFill/>
            <a:prstDash val="solid"/>
            <a:round/>
            <a:headEnd type="none" w="med" len="med"/>
            <a:tailEnd type="none" w="med" len="med"/>
          </a:ln>
          <a:effectLst/>
        </p:spPr>
        <p:txBody>
          <a:bodyPr vert="horz" wrap="none" lIns="0" tIns="0" rIns="0" bIns="0" numCol="1" spcCol="0" rtlCol="0" anchor="t" anchorCtr="0" compatLnSpc="1">
            <a:prstTxWarp prst="textNoShape">
              <a:avLst/>
            </a:prstTxWarp>
            <a:noAutofit/>
          </a:bodyPr>
          <a:lstStyle/>
          <a:p>
            <a:pPr marL="0" lvl="0" indent="0" algn="l">
              <a:spcAft>
                <a:spcPts val="451"/>
              </a:spcAft>
            </a:pPr>
            <a:endParaRPr lang="en-US" sz="2800" b="1" i="0" baseline="0">
              <a:solidFill>
                <a:schemeClr val="bg1"/>
              </a:solidFill>
              <a:latin typeface="Arial" panose="020B0604020202020204" pitchFamily="34" charset="0"/>
              <a:ea typeface="ＭＳ Ｐゴシック" panose="020B0600070205080204" pitchFamily="34" charset="-128"/>
              <a:cs typeface="+mj-cs"/>
              <a:sym typeface="Arial" panose="020B0604020202020204" pitchFamily="34" charset="0"/>
            </a:endParaRPr>
          </a:p>
        </p:txBody>
      </p:sp>
      <p:sp>
        <p:nvSpPr>
          <p:cNvPr id="32790" name="Rectangle 5"/>
          <p:cNvSpPr>
            <a:spLocks noGrp="1" noChangeArrowheads="1"/>
          </p:cNvSpPr>
          <p:nvPr>
            <p:ph type="title"/>
          </p:nvPr>
        </p:nvSpPr>
        <p:spPr bwMode="auto">
          <a:xfrm>
            <a:off x="430373" y="356766"/>
            <a:ext cx="11329827" cy="57451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noAutofit/>
          </a:bodyPr>
          <a:lstStyle/>
          <a:p>
            <a:pPr lvl="0"/>
            <a:r>
              <a:rPr lang="en-US"/>
              <a:t>Click to edit Master title style</a:t>
            </a:r>
            <a:endParaRPr lang="en-GB"/>
          </a:p>
        </p:txBody>
      </p:sp>
      <p:sp>
        <p:nvSpPr>
          <p:cNvPr id="32791" name="Rectangle 3"/>
          <p:cNvSpPr>
            <a:spLocks noGrp="1" noChangeArrowheads="1"/>
          </p:cNvSpPr>
          <p:nvPr>
            <p:ph type="body" idx="1"/>
          </p:nvPr>
        </p:nvSpPr>
        <p:spPr bwMode="auto">
          <a:xfrm>
            <a:off x="430375" y="1411818"/>
            <a:ext cx="11331253" cy="480131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/>
              <a:t>Heading 1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  <a:p>
            <a:pPr lvl="5"/>
            <a:r>
              <a:rPr lang="en-US"/>
              <a:t>Sixth level</a:t>
            </a:r>
          </a:p>
          <a:p>
            <a:pPr lvl="6"/>
            <a:r>
              <a:rPr lang="en-US"/>
              <a:t>Seventh level</a:t>
            </a:r>
          </a:p>
          <a:p>
            <a:pPr lvl="7"/>
            <a:r>
              <a:rPr lang="en-US"/>
              <a:t>Eighth level</a:t>
            </a:r>
          </a:p>
          <a:p>
            <a:pPr lvl="8"/>
            <a:r>
              <a:rPr lang="en-US"/>
              <a:t>Ninth level</a:t>
            </a:r>
          </a:p>
        </p:txBody>
      </p:sp>
      <p:sp>
        <p:nvSpPr>
          <p:cNvPr id="7" name="Slide Number Placeholder 5"/>
          <p:cNvSpPr txBox="1">
            <a:spLocks/>
          </p:cNvSpPr>
          <p:nvPr/>
        </p:nvSpPr>
        <p:spPr>
          <a:xfrm>
            <a:off x="11049252" y="6320503"/>
            <a:ext cx="7123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r" rtl="0" fontAlgn="base">
              <a:spcBef>
                <a:spcPct val="0"/>
              </a:spcBef>
              <a:spcAft>
                <a:spcPct val="0"/>
              </a:spcAft>
              <a:defRPr lang="en-GB" sz="1000" b="0" kern="1200" smtClean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fld id="{C765D33F-A874-457A-8BB6-233806FE7182}" type="slidenum">
              <a:rPr lang="en-GB" sz="1467" smtClean="0">
                <a:solidFill>
                  <a:schemeClr val="accent1"/>
                </a:solidFill>
              </a:rPr>
              <a:pPr/>
              <a:t>‹#›</a:t>
            </a:fld>
            <a:endParaRPr lang="en-GB" sz="1467">
              <a:solidFill>
                <a:schemeClr val="accent1"/>
              </a:solidFill>
            </a:endParaRPr>
          </a:p>
        </p:txBody>
      </p:sp>
      <p:sp>
        <p:nvSpPr>
          <p:cNvPr id="6" name="Footer Placeholder 1">
            <a:extLst>
              <a:ext uri="{FF2B5EF4-FFF2-40B4-BE49-F238E27FC236}">
                <a16:creationId xmlns:a16="http://schemas.microsoft.com/office/drawing/2014/main" id="{5595E345-7284-4667-AC5E-016E8BC22574}"/>
              </a:ext>
            </a:extLst>
          </p:cNvPr>
          <p:cNvSpPr txBox="1">
            <a:spLocks/>
          </p:cNvSpPr>
          <p:nvPr/>
        </p:nvSpPr>
        <p:spPr>
          <a:xfrm>
            <a:off x="430375" y="6320502"/>
            <a:ext cx="1216077" cy="225767"/>
          </a:xfrm>
          <a:prstGeom prst="rect">
            <a:avLst/>
          </a:prstGeom>
        </p:spPr>
        <p:txBody>
          <a:bodyPr wrap="square" lIns="0" tIns="0" rIns="0" bIns="0" anchor="b">
            <a:spAutoFit/>
          </a:bodyPr>
          <a:lstStyle>
            <a:defPPr>
              <a:defRPr lang="en-GB"/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lang="en-GB" sz="1100" b="0" kern="1200" dirty="0">
                <a:solidFill>
                  <a:schemeClr val="accent1"/>
                </a:solidFill>
                <a:latin typeface="+mn-lt"/>
                <a:ea typeface="+mn-ea"/>
                <a:cs typeface="+mn-cs"/>
              </a:defRPr>
            </a:lvl1pPr>
            <a:lvl2pPr marL="609539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2pPr>
            <a:lvl3pPr marL="1219080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3pPr>
            <a:lvl4pPr marL="182861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4pPr>
            <a:lvl5pPr marL="2438158" algn="l" rtl="0" fontAlgn="base">
              <a:spcBef>
                <a:spcPct val="0"/>
              </a:spcBef>
              <a:spcAft>
                <a:spcPct val="0"/>
              </a:spcAft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5pPr>
            <a:lvl6pPr marL="3047696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6pPr>
            <a:lvl7pPr marL="3657235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7pPr>
            <a:lvl8pPr marL="426677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8pPr>
            <a:lvl9pPr marL="4876313" algn="l" defTabSz="1219080" rtl="0" eaLnBrk="1" latinLnBrk="0" hangingPunct="1">
              <a:defRPr sz="3700" b="1" kern="1200">
                <a:solidFill>
                  <a:srgbClr val="0079C1"/>
                </a:solidFill>
                <a:latin typeface="Arial" charset="0"/>
                <a:ea typeface="ＭＳ Ｐゴシック" pitchFamily="48" charset="-128"/>
                <a:cs typeface="+mn-cs"/>
              </a:defRPr>
            </a:lvl9pPr>
          </a:lstStyle>
          <a:p>
            <a:pPr>
              <a:tabLst>
                <a:tab pos="1318618" algn="l"/>
              </a:tabLst>
            </a:pPr>
            <a:r>
              <a:rPr lang="fr-FR" sz="1467" b="1"/>
              <a:t>National Grid </a:t>
            </a: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11FF0E86-C382-4328-B60B-9F1C705E2575}"/>
              </a:ext>
            </a:extLst>
          </p:cNvPr>
          <p:cNvSpPr txBox="1"/>
          <p:nvPr userDrawn="1"/>
        </p:nvSpPr>
        <p:spPr bwMode="auto">
          <a:xfrm>
            <a:off x="4494725" y="77273"/>
            <a:ext cx="2459865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0" tIns="0" rIns="0" bIns="0" numCol="1" rtlCol="0" anchor="t" anchorCtr="0" compatLnSpc="1">
            <a:prstTxWarp prst="textNoShape">
              <a:avLst/>
            </a:prstTxWarp>
            <a:spAutoFit/>
          </a:bodyPr>
          <a:lstStyle/>
          <a:p>
            <a:pPr algn="ctr">
              <a:spcAft>
                <a:spcPts val="600"/>
              </a:spcAft>
              <a:buClr>
                <a:schemeClr val="tx1"/>
              </a:buClr>
            </a:pPr>
            <a:r>
              <a:rPr lang="en-GB" sz="1400" b="0" kern="0">
                <a:solidFill>
                  <a:schemeClr val="tx1"/>
                </a:solidFill>
                <a:latin typeface="+mn-lt"/>
                <a:ea typeface="+mn-ea"/>
              </a:rPr>
              <a:t>Strictly Confidential</a:t>
            </a:r>
          </a:p>
        </p:txBody>
      </p:sp>
    </p:spTree>
    <p:extLst>
      <p:ext uri="{BB962C8B-B14F-4D97-AF65-F5344CB8AC3E}">
        <p14:creationId xmlns:p14="http://schemas.microsoft.com/office/powerpoint/2010/main" val="152948859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25" r:id="rId1"/>
    <p:sldLayoutId id="2147483826" r:id="rId2"/>
    <p:sldLayoutId id="2147483829" r:id="rId3"/>
  </p:sldLayoutIdLst>
  <p:transition>
    <p:fade/>
  </p:transition>
  <p:hf sldNum="0" hdr="0" dt="0"/>
  <p:txStyles>
    <p:titleStyle>
      <a:lvl1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chemeClr val="accent1"/>
          </a:solidFill>
          <a:latin typeface="+mj-lt"/>
          <a:ea typeface="+mj-ea"/>
          <a:cs typeface="+mj-cs"/>
        </a:defRPr>
      </a:lvl1pPr>
      <a:lvl2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2pPr>
      <a:lvl3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3pPr>
      <a:lvl4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4pPr>
      <a:lvl5pPr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5pPr>
      <a:lvl6pPr marL="457131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6pPr>
      <a:lvl7pPr marL="914264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7pPr>
      <a:lvl8pPr marL="1371396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8pPr>
      <a:lvl9pPr marL="1828528" algn="l" rtl="0" eaLnBrk="1" fontAlgn="base" hangingPunct="1">
        <a:spcBef>
          <a:spcPct val="0"/>
        </a:spcBef>
        <a:spcAft>
          <a:spcPct val="0"/>
        </a:spcAft>
        <a:defRPr sz="2800" b="1">
          <a:solidFill>
            <a:srgbClr val="0079C1"/>
          </a:solidFill>
          <a:latin typeface="Arial" charset="0"/>
          <a:ea typeface="ＭＳ Ｐゴシック" pitchFamily="48" charset="-128"/>
        </a:defRPr>
      </a:lvl9pPr>
    </p:titleStyle>
    <p:bodyStyle>
      <a:lvl1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4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2133">
          <a:solidFill>
            <a:schemeClr val="tx1"/>
          </a:solidFill>
          <a:latin typeface="+mn-lt"/>
          <a:ea typeface="+mn-ea"/>
        </a:defRPr>
      </a:lvl2pPr>
      <a:lvl3pPr marL="359982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•"/>
        <a:defRPr sz="2133">
          <a:solidFill>
            <a:schemeClr val="tx1"/>
          </a:solidFill>
          <a:latin typeface="+mn-lt"/>
          <a:ea typeface="+mn-ea"/>
        </a:defRPr>
      </a:lvl3pPr>
      <a:lvl4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-"/>
        <a:defRPr sz="2133">
          <a:solidFill>
            <a:schemeClr val="tx1"/>
          </a:solidFill>
          <a:latin typeface="+mn-lt"/>
          <a:ea typeface="+mn-ea"/>
        </a:defRPr>
      </a:lvl4pPr>
      <a:lvl5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Arial" panose="020B0604020202020204" pitchFamily="34" charset="0"/>
        <a:buChar char="◦"/>
        <a:defRPr sz="2133">
          <a:solidFill>
            <a:schemeClr val="tx1"/>
          </a:solidFill>
          <a:latin typeface="+mn-lt"/>
          <a:ea typeface="+mn-ea"/>
        </a:defRPr>
      </a:lvl5pPr>
      <a:lvl6pPr marL="0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rabicPeriod"/>
        <a:defRPr sz="2133">
          <a:solidFill>
            <a:schemeClr val="tx1"/>
          </a:solidFill>
          <a:latin typeface="+mn-lt"/>
          <a:ea typeface="+mn-ea"/>
        </a:defRPr>
      </a:lvl6pPr>
      <a:lvl7pPr marL="719965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alphaLcPeriod"/>
        <a:defRPr sz="2133">
          <a:solidFill>
            <a:schemeClr val="tx1"/>
          </a:solidFill>
          <a:latin typeface="+mn-lt"/>
          <a:ea typeface="+mn-ea"/>
        </a:defRPr>
      </a:lvl7pPr>
      <a:lvl8pPr marL="1079946" indent="-359982" algn="l" rtl="0" eaLnBrk="1" fontAlgn="base" hangingPunct="1">
        <a:spcBef>
          <a:spcPct val="0"/>
        </a:spcBef>
        <a:spcAft>
          <a:spcPts val="1600"/>
        </a:spcAft>
        <a:buClr>
          <a:schemeClr val="accent1"/>
        </a:buClr>
        <a:buFont typeface="+mj-lt"/>
        <a:buAutoNum type="romanLcPeriod"/>
        <a:defRPr sz="2133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1600"/>
        </a:spcAft>
        <a:buClr>
          <a:schemeClr val="tx1"/>
        </a:buClr>
        <a:buFontTx/>
        <a:buNone/>
        <a:defRPr sz="3200">
          <a:solidFill>
            <a:schemeClr val="accent1"/>
          </a:solidFill>
          <a:latin typeface="+mn-lt"/>
          <a:ea typeface="+mn-ea"/>
        </a:defRPr>
      </a:lvl9pPr>
    </p:bodyStyle>
    <p:otherStyle>
      <a:defPPr>
        <a:defRPr lang="en-GB"/>
      </a:defPPr>
      <a:lvl1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 b="1">
          <a:solidFill>
            <a:schemeClr val="accent1"/>
          </a:solidFill>
          <a:latin typeface="+mn-lt"/>
          <a:ea typeface="+mn-ea"/>
          <a:cs typeface="+mn-cs"/>
        </a:defRPr>
      </a:lvl1pPr>
      <a:lvl2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tx1"/>
          </a:solidFill>
          <a:latin typeface="+mn-lt"/>
          <a:ea typeface="+mn-ea"/>
        </a:defRPr>
      </a:lvl2pPr>
      <a:lvl3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•"/>
        <a:defRPr sz="1600">
          <a:solidFill>
            <a:schemeClr val="tx1"/>
          </a:solidFill>
          <a:latin typeface="+mn-lt"/>
          <a:ea typeface="+mn-ea"/>
        </a:defRPr>
      </a:lvl3pPr>
      <a:lvl4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-"/>
        <a:defRPr sz="1600">
          <a:solidFill>
            <a:schemeClr val="tx1"/>
          </a:solidFill>
          <a:latin typeface="+mn-lt"/>
          <a:ea typeface="+mn-ea"/>
        </a:defRPr>
      </a:lvl4pPr>
      <a:lvl5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Arial" panose="020B0604020202020204" pitchFamily="34" charset="0"/>
        <a:buChar char="◦"/>
        <a:defRPr sz="1600">
          <a:solidFill>
            <a:schemeClr val="tx1"/>
          </a:solidFill>
          <a:latin typeface="+mn-lt"/>
          <a:ea typeface="+mn-ea"/>
        </a:defRPr>
      </a:lvl5pPr>
      <a:lvl6pPr marL="239989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rabicPeriod"/>
        <a:defRPr sz="1600">
          <a:solidFill>
            <a:schemeClr val="tx1"/>
          </a:solidFill>
          <a:latin typeface="+mn-lt"/>
          <a:ea typeface="+mn-ea"/>
        </a:defRPr>
      </a:lvl6pPr>
      <a:lvl7pPr marL="479976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alphaLcPeriod"/>
        <a:defRPr sz="1600">
          <a:solidFill>
            <a:schemeClr val="tx1"/>
          </a:solidFill>
          <a:latin typeface="+mn-lt"/>
          <a:ea typeface="+mn-ea"/>
        </a:defRPr>
      </a:lvl7pPr>
      <a:lvl8pPr marL="719965" indent="-239989" algn="l" rtl="0" eaLnBrk="1" fontAlgn="base" hangingPunct="1">
        <a:spcBef>
          <a:spcPct val="0"/>
        </a:spcBef>
        <a:spcAft>
          <a:spcPts val="800"/>
        </a:spcAft>
        <a:buClr>
          <a:schemeClr val="accent1"/>
        </a:buClr>
        <a:buFont typeface="+mj-lt"/>
        <a:buAutoNum type="romanLcPeriod"/>
        <a:defRPr sz="1600">
          <a:solidFill>
            <a:schemeClr val="tx1"/>
          </a:solidFill>
          <a:latin typeface="+mn-lt"/>
          <a:ea typeface="+mn-ea"/>
        </a:defRPr>
      </a:lvl8pPr>
      <a:lvl9pPr marL="0" indent="0" algn="l" rtl="0" eaLnBrk="1" fontAlgn="base" hangingPunct="1">
        <a:spcBef>
          <a:spcPct val="0"/>
        </a:spcBef>
        <a:spcAft>
          <a:spcPts val="800"/>
        </a:spcAft>
        <a:buClr>
          <a:schemeClr val="tx1"/>
        </a:buClr>
        <a:buFontTx/>
        <a:buNone/>
        <a:defRPr sz="1600">
          <a:solidFill>
            <a:schemeClr val="accent2"/>
          </a:solidFill>
          <a:latin typeface="+mn-lt"/>
          <a:ea typeface="+mn-ea"/>
        </a:defRPr>
      </a:lvl9pPr>
    </p:otherStyle>
  </p:txStyles>
  <p:extLst>
    <p:ext uri="{27BBF7A9-308A-43DC-89C8-2F10F3537804}">
      <p15:sldGuideLst xmlns:p15="http://schemas.microsoft.com/office/powerpoint/2012/main">
        <p15:guide id="2" pos="4919" userDrawn="1">
          <p15:clr>
            <a:srgbClr val="F26B43"/>
          </p15:clr>
        </p15:guide>
        <p15:guide id="4" pos="9877" userDrawn="1">
          <p15:clr>
            <a:srgbClr val="F26B43"/>
          </p15:clr>
        </p15:guide>
        <p15:guide id="6" orient="horz" pos="5057" userDrawn="1">
          <p15:clr>
            <a:srgbClr val="F26B43"/>
          </p15:clr>
        </p15:guide>
        <p15:guide id="8" pos="363" userDrawn="1">
          <p15:clr>
            <a:srgbClr val="F26B43"/>
          </p15:clr>
        </p15:guide>
        <p15:guide id="13" pos="5321" userDrawn="1">
          <p15:clr>
            <a:srgbClr val="F26B43"/>
          </p15:clr>
        </p15:guide>
        <p15:guide id="14" orient="horz" pos="623" userDrawn="1">
          <p15:clr>
            <a:srgbClr val="F26B43"/>
          </p15:clr>
        </p15:guide>
        <p15:guide id="15" orient="horz" pos="1185" userDrawn="1">
          <p15:clr>
            <a:srgbClr val="F26B43"/>
          </p15:clr>
        </p15:guide>
        <p15:guide id="16" pos="3669" userDrawn="1">
          <p15:clr>
            <a:srgbClr val="F26B43"/>
          </p15:clr>
        </p15:guide>
        <p15:guide id="17" pos="6975" userDrawn="1">
          <p15:clr>
            <a:srgbClr val="F26B43"/>
          </p15:clr>
        </p15:guide>
        <p15:guide id="18" pos="6571" userDrawn="1">
          <p15:clr>
            <a:srgbClr val="F26B43"/>
          </p15:clr>
        </p15:guide>
        <p15:guide id="19" pos="3265" userDrawn="1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40261" y="1411817"/>
            <a:ext cx="10868601" cy="2481427"/>
          </a:xfrm>
        </p:spPr>
        <p:txBody>
          <a:bodyPr/>
          <a:lstStyle/>
          <a:p>
            <a:r>
              <a:rPr lang="en-GB" dirty="0"/>
              <a:t>Wholesale Market Working Group Update</a:t>
            </a:r>
            <a:br>
              <a:rPr lang="en-GB" dirty="0"/>
            </a:br>
            <a:r>
              <a:rPr lang="en-GB" dirty="0"/>
              <a:t>May 2024 Update to WMS</a:t>
            </a:r>
            <a:br>
              <a:rPr lang="en-GB" dirty="0"/>
            </a:br>
            <a:br>
              <a:rPr lang="en-GB" dirty="0"/>
            </a:br>
            <a:endParaRPr lang="en-GB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0"/>
          </p:nvPr>
        </p:nvSpPr>
        <p:spPr>
          <a:xfrm>
            <a:off x="440261" y="3599524"/>
            <a:ext cx="6406017" cy="1477328"/>
          </a:xfrm>
        </p:spPr>
        <p:txBody>
          <a:bodyPr/>
          <a:lstStyle/>
          <a:p>
            <a:r>
              <a:rPr lang="en-GB" b="0" dirty="0"/>
              <a:t>May 1, 2024</a:t>
            </a:r>
          </a:p>
          <a:p>
            <a:endParaRPr lang="en-GB" b="0" dirty="0"/>
          </a:p>
          <a:p>
            <a:r>
              <a:rPr lang="en-GB" b="0" dirty="0"/>
              <a:t>Kevin Hanson (National Grid) Chair</a:t>
            </a:r>
          </a:p>
          <a:p>
            <a:r>
              <a:rPr lang="en-GB" b="0" dirty="0"/>
              <a:t>Blake Holt (LCRA) Vice Chair</a:t>
            </a:r>
          </a:p>
        </p:txBody>
      </p:sp>
    </p:spTree>
    <p:extLst>
      <p:ext uri="{BB962C8B-B14F-4D97-AF65-F5344CB8AC3E}">
        <p14:creationId xmlns:p14="http://schemas.microsoft.com/office/powerpoint/2010/main" val="136374311"/>
      </p:ext>
    </p:extLst>
  </p:cSld>
  <p:clrMapOvr>
    <a:masterClrMapping/>
  </p:clrMapOvr>
  <p:transition>
    <p:fade/>
  </p:transition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E1F3F72A-850B-4B6D-BB79-4D65474A047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30373" y="1130226"/>
            <a:ext cx="10668551" cy="4719241"/>
          </a:xfrm>
        </p:spPr>
        <p:txBody>
          <a:bodyPr/>
          <a:lstStyle/>
          <a:p>
            <a:r>
              <a:rPr lang="en-US" sz="2000" b="0" dirty="0">
                <a:solidFill>
                  <a:srgbClr val="212529"/>
                </a:solidFill>
                <a:latin typeface="Roboto" panose="02000000000000000000" pitchFamily="2" charset="0"/>
              </a:rPr>
              <a:t>WMWG meeting occurred on April 24, 2024</a:t>
            </a:r>
          </a:p>
          <a:p>
            <a:endParaRPr lang="en-US" sz="2000" b="0" dirty="0">
              <a:solidFill>
                <a:srgbClr val="212529"/>
              </a:solidFill>
              <a:latin typeface="Roboto" panose="02000000000000000000" pitchFamily="2" charset="0"/>
            </a:endParaRPr>
          </a:p>
          <a:p>
            <a:r>
              <a:rPr lang="en-US" sz="2000" b="0" dirty="0">
                <a:solidFill>
                  <a:srgbClr val="212529"/>
                </a:solidFill>
                <a:latin typeface="Roboto" panose="02000000000000000000" pitchFamily="2" charset="0"/>
              </a:rPr>
              <a:t>NPRR 1216 was discussed with comments from ERCOT and TCPA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sz="2000" b="0" dirty="0">
                <a:solidFill>
                  <a:srgbClr val="212529"/>
                </a:solidFill>
                <a:latin typeface="Roboto" panose="02000000000000000000" pitchFamily="2" charset="0"/>
              </a:rPr>
              <a:t>15 minute System Lambda will need to be added into the system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sz="2000" b="0" dirty="0">
                <a:solidFill>
                  <a:srgbClr val="212529"/>
                </a:solidFill>
                <a:latin typeface="Roboto" panose="02000000000000000000" pitchFamily="2" charset="0"/>
              </a:rPr>
              <a:t>Fuel plus non-fuel marginal </a:t>
            </a:r>
            <a:r>
              <a:rPr lang="en-US" sz="2000" b="0">
                <a:solidFill>
                  <a:srgbClr val="212529"/>
                </a:solidFill>
                <a:latin typeface="Roboto" panose="02000000000000000000" pitchFamily="2" charset="0"/>
              </a:rPr>
              <a:t>costs will </a:t>
            </a:r>
            <a:r>
              <a:rPr lang="en-US" sz="2000" b="0" dirty="0">
                <a:solidFill>
                  <a:srgbClr val="212529"/>
                </a:solidFill>
                <a:latin typeface="Roboto" panose="02000000000000000000" pitchFamily="2" charset="0"/>
              </a:rPr>
              <a:t>be covered under the Emergency Pricing Plan (EPP)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sz="2000" b="0" dirty="0">
                <a:solidFill>
                  <a:srgbClr val="212529"/>
                </a:solidFill>
                <a:latin typeface="Roboto" panose="02000000000000000000" pitchFamily="2" charset="0"/>
              </a:rPr>
              <a:t>NPRR 1216 is ready for a vote at WMS with comments from 3/26/24 TCPA and 4/17/24 ERCOT included</a:t>
            </a:r>
          </a:p>
          <a:p>
            <a:endParaRPr lang="en-US" sz="2000" b="0" dirty="0">
              <a:solidFill>
                <a:srgbClr val="212529"/>
              </a:solidFill>
              <a:latin typeface="Roboto" panose="02000000000000000000" pitchFamily="2" charset="0"/>
            </a:endParaRPr>
          </a:p>
          <a:p>
            <a:r>
              <a:rPr lang="en-US" sz="2000" b="0" dirty="0">
                <a:solidFill>
                  <a:srgbClr val="212529"/>
                </a:solidFill>
                <a:latin typeface="Roboto" panose="02000000000000000000" pitchFamily="2" charset="0"/>
              </a:rPr>
              <a:t>NPRR 1190 was discussed</a:t>
            </a:r>
          </a:p>
          <a:p>
            <a:pPr marL="342900" indent="-342900">
              <a:buFont typeface="Courier New" panose="02070309020205020404" pitchFamily="49" charset="0"/>
              <a:buChar char="o"/>
            </a:pPr>
            <a:r>
              <a:rPr lang="en-US" sz="2000" b="0" dirty="0">
                <a:solidFill>
                  <a:srgbClr val="212529"/>
                </a:solidFill>
                <a:latin typeface="Roboto" panose="02000000000000000000" pitchFamily="2" charset="0"/>
              </a:rPr>
              <a:t>NPRR 1190 is ready for a vote at WMS</a:t>
            </a:r>
            <a:endParaRPr lang="en-US" b="0" dirty="0">
              <a:solidFill>
                <a:srgbClr val="212529"/>
              </a:solidFill>
              <a:latin typeface="Roboto" panose="02000000000000000000" pitchFamily="2" charset="0"/>
            </a:endParaRP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CFA23CE4-79EC-4498-A433-3571B651B09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verview</a:t>
            </a:r>
          </a:p>
        </p:txBody>
      </p:sp>
    </p:spTree>
    <p:extLst>
      <p:ext uri="{BB962C8B-B14F-4D97-AF65-F5344CB8AC3E}">
        <p14:creationId xmlns:p14="http://schemas.microsoft.com/office/powerpoint/2010/main" val="3173487482"/>
      </p:ext>
    </p:extLst>
  </p:cSld>
  <p:clrMapOvr>
    <a:masterClrMapping/>
  </p:clrMapOvr>
  <p:transition>
    <p:fade/>
  </p:transition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24367388"/>
      </p:ext>
    </p:extLst>
  </p:cSld>
  <p:clrMapOvr>
    <a:masterClrMapping/>
  </p:clrMapOvr>
  <p:transition>
    <p:fade/>
  </p:transition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  <p:tag name="THINKCELLPRESENTATIONDONOTDELETE" val="&lt;?xml version=&quot;1.0&quot; encoding=&quot;UTF-16&quot; standalone=&quot;yes&quot;?&gt;&lt;root reqver=&quot;27037&quot;&gt;&lt;version val=&quot;32560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1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d/%m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0&quot;/&gt;&lt;/m_mruColor&gt;&lt;m_eweekdayFirstOfWeek val=&quot;2&quot;/&gt;&lt;m_eweekdayFirstOfWorkweek val=&quot;2&quot;/&gt;&lt;m_eweekdayFirstOfWeekend val=&quot;7&quot;/&gt;&lt;/CPresentation&gt;&lt;/root&gt;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tuOilFu0w7I84mS_.VxA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VJNcz6CVYWrYD789LJ_gOg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zzYYZhZ1.XlBfmwqwWYoGA"/>
</p:tagLst>
</file>

<file path=ppt/theme/theme1.xml><?xml version="1.0" encoding="utf-8"?>
<a:theme xmlns:a="http://schemas.openxmlformats.org/drawingml/2006/main" name="US NG_2018 PPT__EnergyLines Template 16x9">
  <a:themeElements>
    <a:clrScheme name="Custom 8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563C1"/>
      </a:hlink>
      <a:folHlink>
        <a:srgbClr val="954F72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PT EnergyLines 16x9" id="{02A2C634-F83B-4667-9013-9940280A62A9}" vid="{5009B880-53A3-441F-8D33-BFBDCF9468D3}"/>
    </a:ext>
  </a:extLst>
</a:theme>
</file>

<file path=ppt/theme/theme2.xml><?xml version="1.0" encoding="utf-8"?>
<a:theme xmlns:a="http://schemas.openxmlformats.org/drawingml/2006/main" name="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3.xml><?xml version="1.0" encoding="utf-8"?>
<a:theme xmlns:a="http://schemas.openxmlformats.org/drawingml/2006/main" name="1_US NG_2018 PPT_Energy Lines Template 16x9">
  <a:themeElements>
    <a:clrScheme name="Custom 4">
      <a:dk1>
        <a:srgbClr val="55555A"/>
      </a:dk1>
      <a:lt1>
        <a:srgbClr val="FFFFFF"/>
      </a:lt1>
      <a:dk2>
        <a:srgbClr val="808083"/>
      </a:dk2>
      <a:lt2>
        <a:srgbClr val="AAAAAC"/>
      </a:lt2>
      <a:accent1>
        <a:srgbClr val="00148C"/>
      </a:accent1>
      <a:accent2>
        <a:srgbClr val="00BEB4"/>
      </a:accent2>
      <a:accent3>
        <a:srgbClr val="FA4616"/>
      </a:accent3>
      <a:accent4>
        <a:srgbClr val="500A78"/>
      </a:accent4>
      <a:accent5>
        <a:srgbClr val="C800A1"/>
      </a:accent5>
      <a:accent6>
        <a:srgbClr val="FFB45A"/>
      </a:accent6>
      <a:hlink>
        <a:srgbClr val="00148C"/>
      </a:hlink>
      <a:folHlink>
        <a:srgbClr val="00148C"/>
      </a:folHlink>
    </a:clrScheme>
    <a:fontScheme name="NG Photo">
      <a:majorFont>
        <a:latin typeface="Arial"/>
        <a:ea typeface="ＭＳ Ｐゴシック"/>
        <a:cs typeface=""/>
      </a:majorFont>
      <a:minorFont>
        <a:latin typeface="Arial"/>
        <a:ea typeface="ＭＳ Ｐゴシック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 w="9525" cap="flat" cmpd="sng" algn="ctr">
          <a:noFill/>
          <a:prstDash val="solid"/>
          <a:round/>
          <a:headEnd type="none" w="med" len="med"/>
          <a:tailEnd type="none" w="med" len="med"/>
        </a:ln>
        <a:effectLst/>
      </a:spPr>
      <a:bodyPr vert="horz" wrap="square" lIns="91434" tIns="45718" rIns="91434" bIns="45718" numCol="1" rtlCol="0" anchor="t" anchorCtr="0" compatLnSpc="1">
        <a:prstTxWarp prst="textNoShape">
          <a:avLst/>
        </a:prstTxWarp>
      </a:bodyPr>
      <a:lstStyle>
        <a:defPPr algn="l">
          <a:spcAft>
            <a:spcPts val="450"/>
          </a:spcAft>
          <a:defRPr sz="1800" dirty="0" err="1">
            <a:solidFill>
              <a:schemeClr val="bg1"/>
            </a:solidFill>
            <a:latin typeface="+mn-lt"/>
            <a:cs typeface="Arial"/>
          </a:defRPr>
        </a:defPPr>
      </a:lstStyle>
    </a:spDef>
    <a:lnDef>
      <a:spPr bwMode="auto">
        <a:xfrm>
          <a:off x="0" y="0"/>
          <a:ext cx="1" cy="1"/>
        </a:xfrm>
        <a:custGeom>
          <a:avLst/>
          <a:gdLst/>
          <a:ahLst/>
          <a:cxnLst/>
          <a:rect l="0" t="0" r="0" b="0"/>
          <a:pathLst/>
        </a:custGeom>
        <a:solidFill>
          <a:schemeClr val="accent1"/>
        </a:solidFill>
        <a:ln w="9525" cap="flat" cmpd="sng" algn="ctr">
          <a:solidFill>
            <a:schemeClr val="tx1"/>
          </a:solidFill>
          <a:prstDash val="solid"/>
          <a:round/>
          <a:headEnd type="none" w="med" len="med"/>
          <a:tailEnd type="none" w="med" len="med"/>
        </a:ln>
        <a:effectLst/>
        <a:extLst>
          <a:ext uri="{AF507438-7753-43E0-B8FC-AC1667EBCBE1}">
            <a14:hiddenEffects xmlns:a14="http://schemas.microsoft.com/office/drawing/2010/main">
              <a:effectLst>
                <a:outerShdw dist="35921" dir="2700000" algn="ctr" rotWithShape="0">
                  <a:schemeClr val="bg2"/>
                </a:outerShdw>
              </a:effectLst>
            </a14:hiddenEffects>
          </a:ext>
        </a:extLst>
      </a:spPr>
      <a:bodyPr vert="horz" wrap="square" lIns="91440" tIns="45720" rIns="91440" bIns="45720" numCol="1" anchor="t" anchorCtr="0" compatLnSpc="1">
        <a:prstTxWarp prst="textNoShape">
          <a:avLst/>
        </a:prstTxWarp>
      </a:bodyPr>
      <a:lstStyle>
        <a:defPPr marL="0" marR="0" indent="0" algn="l" defTabSz="914400" rtl="0" eaLnBrk="1" fontAlgn="base" latinLnBrk="0" hangingPunct="1">
          <a:lnSpc>
            <a:spcPct val="100000"/>
          </a:lnSpc>
          <a:spcBef>
            <a:spcPct val="0"/>
          </a:spcBef>
          <a:spcAft>
            <a:spcPct val="0"/>
          </a:spcAft>
          <a:buClrTx/>
          <a:buSzTx/>
          <a:buFontTx/>
          <a:buNone/>
          <a:tabLst/>
          <a:defRPr kumimoji="0" lang="en-GB" sz="2800" b="1" i="0" u="none" strike="noStrike" cap="none" normalizeH="0" baseline="0" smtClean="0">
            <a:ln>
              <a:noFill/>
            </a:ln>
            <a:solidFill>
              <a:srgbClr val="0079C1"/>
            </a:solidFill>
            <a:effectLst/>
            <a:latin typeface="Arial" charset="0"/>
            <a:ea typeface="ＭＳ Ｐゴシック" pitchFamily="48" charset="-128"/>
          </a:defRPr>
        </a:defPPr>
      </a:lstStyle>
    </a:lnDef>
    <a:txDef>
      <a:spPr bwMode="auto">
        <a:noFill/>
        <a:ln>
          <a:noFill/>
        </a:ln>
        <a:extLst>
          <a:ext uri="{909E8E84-426E-40DD-AFC4-6F175D3DCCD1}">
            <a14:hiddenFill xmlns:a14="http://schemas.microsoft.com/office/drawing/2010/main">
              <a:solidFill>
                <a:srgbClr val="FFFFFF"/>
              </a:solidFill>
            </a14:hiddenFill>
          </a:ext>
          <a:ext uri="{91240B29-F687-4F45-9708-019B960494DF}">
            <a14:hiddenLine xmlns:a14="http://schemas.microsoft.com/office/drawing/2010/main" w="9525">
              <a:solidFill>
                <a:srgbClr val="000000"/>
              </a:solidFill>
              <a:miter lim="800000"/>
              <a:headEnd/>
              <a:tailEnd/>
            </a14:hiddenLine>
          </a:ext>
        </a:extLst>
      </a:spPr>
      <a:bodyPr vert="horz" wrap="square" lIns="0" tIns="0" rIns="0" bIns="0" numCol="1" rtlCol="0" anchor="t" anchorCtr="0" compatLnSpc="1">
        <a:prstTxWarp prst="textNoShape">
          <a:avLst/>
        </a:prstTxWarp>
        <a:spAutoFit/>
      </a:bodyPr>
      <a:lstStyle>
        <a:defPPr algn="l">
          <a:spcAft>
            <a:spcPts val="600"/>
          </a:spcAft>
          <a:buClr>
            <a:schemeClr val="tx1"/>
          </a:buClr>
          <a:defRPr sz="1800" b="0" kern="0" dirty="0" err="1" smtClean="0">
            <a:solidFill>
              <a:schemeClr val="tx1"/>
            </a:solidFill>
            <a:latin typeface="+mn-lt"/>
            <a:ea typeface="+mn-ea"/>
          </a:defRPr>
        </a:defPPr>
      </a:lstStyle>
    </a:txDef>
  </a:objectDefaults>
  <a:extraClrSchemeLst>
    <a:extraClrScheme>
      <a:clrScheme name="NG Photo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00AED9"/>
        </a:accent1>
        <a:accent2>
          <a:srgbClr val="52DA3F"/>
        </a:accent2>
        <a:accent3>
          <a:srgbClr val="FFFFFF"/>
        </a:accent3>
        <a:accent4>
          <a:srgbClr val="000000"/>
        </a:accent4>
        <a:accent5>
          <a:srgbClr val="AAD3E9"/>
        </a:accent5>
        <a:accent6>
          <a:srgbClr val="49C538"/>
        </a:accent6>
        <a:hlink>
          <a:srgbClr val="FF7800"/>
        </a:hlink>
        <a:folHlink>
          <a:srgbClr val="00B090"/>
        </a:folHlink>
      </a:clrScheme>
      <a:clrMap bg1="lt1" tx1="dk1" bg2="lt2" tx2="dk2" accent1="accent1" accent2="accent2" accent3="accent3" accent4="accent4" accent5="accent5" accent6="accent6" hlink="hlink" folHlink="folHlink"/>
    </a:extraClrScheme>
  </a:extraClrSchemeLst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  <a:extLst>
    <a:ext uri="{05A4C25C-085E-4340-85A3-A5531E510DB2}">
      <thm15:themeFamily xmlns:thm15="http://schemas.microsoft.com/office/thememl/2012/main" name="Presentation1" id="{05694B61-54A4-4E95-9753-F44547B9B716}" vid="{66BFABEB-5D5F-4F04-9007-6B2E63E31DFF}"/>
    </a:ext>
  </a:extLst>
</a:theme>
</file>

<file path=ppt/theme/theme4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BBE0E3"/>
      </a:accent1>
      <a:accent2>
        <a:srgbClr val="333399"/>
      </a:accent2>
      <a:accent3>
        <a:srgbClr val="FFFFFF"/>
      </a:accent3>
      <a:accent4>
        <a:srgbClr val="000000"/>
      </a:accent4>
      <a:accent5>
        <a:srgbClr val="DAEDEF"/>
      </a:accent5>
      <a:accent6>
        <a:srgbClr val="2D2D8A"/>
      </a:accent6>
      <a:hlink>
        <a:srgbClr val="009999"/>
      </a:hlink>
      <a:folHlink>
        <a:srgbClr val="99CC0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ppt/theme/theme5.xml><?xml version="1.0" encoding="utf-8"?>
<a:theme xmlns:a="http://schemas.openxmlformats.org/drawingml/2006/main" name="Office Theme">
  <a:themeElements>
    <a:clrScheme name="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00CC99"/>
      </a:accent1>
      <a:accent2>
        <a:srgbClr val="3333CC"/>
      </a:accent2>
      <a:accent3>
        <a:srgbClr val="FFFFFF"/>
      </a:accent3>
      <a:accent4>
        <a:srgbClr val="000000"/>
      </a:accent4>
      <a:accent5>
        <a:srgbClr val="AAE2CA"/>
      </a:accent5>
      <a:accent6>
        <a:srgbClr val="2D2DB9"/>
      </a:accent6>
      <a:hlink>
        <a:srgbClr val="CCCCFF"/>
      </a:hlink>
      <a:folHlink>
        <a:srgbClr val="B2B2B2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Core Blue">
      <a:srgbClr val="00148C"/>
    </a:custClr>
    <a:custClr name="Light Blue">
      <a:srgbClr val="00AFF0"/>
    </a:custClr>
    <a:custClr name="Green">
      <a:srgbClr val="3CE12D"/>
    </a:custClr>
    <a:custClr name="Red">
      <a:srgbClr val="F53C32"/>
    </a:custClr>
    <a:custClr name="Yellow">
      <a:srgbClr val="FADC00"/>
    </a:custClr>
    <a:custClr name="Dark grey">
      <a:srgbClr val="55555A"/>
    </a:custClr>
    <a:custClr name="Blue">
      <a:srgbClr val="009DDC"/>
    </a:custClr>
    <a:custClr name="Teal">
      <a:srgbClr val="00BEB4"/>
    </a:custClr>
    <a:custClr name="Purple">
      <a:srgbClr val="500A78"/>
    </a:custClr>
    <a:custClr name="Magenta">
      <a:srgbClr val="C800A1"/>
    </a:custClr>
    <a:custClr name="Lilac">
      <a:srgbClr val="AF96DC"/>
    </a:custClr>
    <a:custClr name="Orange">
      <a:srgbClr val="FA4616"/>
    </a:custClr>
    <a:custClr name="Mid Blue">
      <a:srgbClr val="0073CD"/>
    </a:custClr>
    <a:custClr name="Soft orange">
      <a:srgbClr val="FFB45A"/>
    </a:custClr>
    <a:custClr name="Mid green">
      <a:srgbClr val="78A22F"/>
    </a:custClr>
  </a:custClr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>
  <documentManagement>
    <SharedWithUsers xmlns="2d3d4732-a288-4eb3-92ed-f68c40ba596f">
      <UserInfo>
        <DisplayName>Semal, Clara</DisplayName>
        <AccountId>485</AccountId>
        <AccountType/>
      </UserInfo>
      <UserInfo>
        <DisplayName>McCormick, Terry</DisplayName>
        <AccountId>22</AccountId>
        <AccountType/>
      </UserInfo>
      <UserInfo>
        <DisplayName>Saunders, Nick</DisplayName>
        <AccountId>63</AccountId>
        <AccountType/>
      </UserInfo>
    </SharedWithUsers>
  </documentManagement>
</p:properties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7CC217B65CDFCE4CA575B84210C98C75" ma:contentTypeVersion="11" ma:contentTypeDescription="Create a new document." ma:contentTypeScope="" ma:versionID="01bc001749ed38fc1f855522dd7c6f1e">
  <xsd:schema xmlns:xsd="http://www.w3.org/2001/XMLSchema" xmlns:xs="http://www.w3.org/2001/XMLSchema" xmlns:p="http://schemas.microsoft.com/office/2006/metadata/properties" xmlns:ns2="e05e7fb9-d0e6-4ab6-b560-888fcb485524" xmlns:ns3="2d3d4732-a288-4eb3-92ed-f68c40ba596f" targetNamespace="http://schemas.microsoft.com/office/2006/metadata/properties" ma:root="true" ma:fieldsID="7f8727be0e5b919fc4bd2c3bf4b8fce9" ns2:_="" ns3:_="">
    <xsd:import namespace="e05e7fb9-d0e6-4ab6-b560-888fcb485524"/>
    <xsd:import namespace="2d3d4732-a288-4eb3-92ed-f68c40ba596f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KeyPoints" minOccurs="0"/>
                <xsd:element ref="ns2:MediaServiceKeyPoint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05e7fb9-d0e6-4ab6-b560-888fcb485524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2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3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2d3d4732-a288-4eb3-92ed-f68c40ba596f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Props1.xml><?xml version="1.0" encoding="utf-8"?>
<ds:datastoreItem xmlns:ds="http://schemas.openxmlformats.org/officeDocument/2006/customXml" ds:itemID="{6E04DA17-4FAB-418C-88AF-EBB5C20EE5F3}">
  <ds:schemaRefs>
    <ds:schemaRef ds:uri="http://purl.org/dc/terms/"/>
    <ds:schemaRef ds:uri="e05e7fb9-d0e6-4ab6-b560-888fcb485524"/>
    <ds:schemaRef ds:uri="http://purl.org/dc/elements/1.1/"/>
    <ds:schemaRef ds:uri="http://www.w3.org/XML/1998/namespace"/>
    <ds:schemaRef ds:uri="http://schemas.microsoft.com/office/infopath/2007/PartnerControls"/>
    <ds:schemaRef ds:uri="http://schemas.openxmlformats.org/package/2006/metadata/core-properties"/>
    <ds:schemaRef ds:uri="http://schemas.microsoft.com/office/2006/documentManagement/types"/>
    <ds:schemaRef ds:uri="2d3d4732-a288-4eb3-92ed-f68c40ba596f"/>
    <ds:schemaRef ds:uri="http://schemas.microsoft.com/office/2006/metadata/properties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641989E3-E6A5-48A2-8585-F2FA39FD2E56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BB13AA91-3831-4D9E-B60D-7249B6D4E725}">
  <ds:schemaRefs>
    <ds:schemaRef ds:uri="2d3d4732-a288-4eb3-92ed-f68c40ba596f"/>
    <ds:schemaRef ds:uri="e05e7fb9-d0e6-4ab6-b560-888fcb485524"/>
    <ds:schemaRef ds:uri="http://purl.org/dc/elements/1.1/"/>
    <ds:schemaRef ds:uri="http://purl.org/dc/terms/"/>
    <ds:schemaRef ds:uri="http://schemas.microsoft.com/internal/obd"/>
    <ds:schemaRef ds:uri="http://schemas.microsoft.com/office/2006/documentManagement/types"/>
    <ds:schemaRef ds:uri="http://schemas.microsoft.com/office/2006/metadata/contentType"/>
    <ds:schemaRef ds:uri="http://schemas.microsoft.com/office/2006/metadata/properties"/>
    <ds:schemaRef ds:uri="http://schemas.microsoft.com/office/2006/metadata/properties/metaAttributes"/>
    <ds:schemaRef ds:uri="http://schemas.microsoft.com/office/infopath/2007/PartnerControls"/>
    <ds:schemaRef ds:uri="http://schemas.openxmlformats.org/package/2006/metadata/core-properties"/>
    <ds:schemaRef ds:uri="http://www.w3.org/2001/XMLSchema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PowerPoint draft template 16x9</Template>
  <TotalTime>4707</TotalTime>
  <Words>109</Words>
  <Application>Microsoft Office PowerPoint</Application>
  <PresentationFormat>Widescreen</PresentationFormat>
  <Paragraphs>15</Paragraphs>
  <Slides>3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3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3</vt:i4>
      </vt:variant>
    </vt:vector>
  </HeadingPairs>
  <TitlesOfParts>
    <vt:vector size="11" baseType="lpstr">
      <vt:lpstr>Arial</vt:lpstr>
      <vt:lpstr>Calibri</vt:lpstr>
      <vt:lpstr>Courier New</vt:lpstr>
      <vt:lpstr>Roboto</vt:lpstr>
      <vt:lpstr>US NG_2018 PPT__EnergyLines Template 16x9</vt:lpstr>
      <vt:lpstr>US NG_2018 PPT_Energy Lines Template 16x9</vt:lpstr>
      <vt:lpstr>1_US NG_2018 PPT_Energy Lines Template 16x9</vt:lpstr>
      <vt:lpstr>think-cell Slide</vt:lpstr>
      <vt:lpstr>Wholesale Market Working Group Update May 2024 Update to WMS  </vt:lpstr>
      <vt:lpstr>Overview</vt:lpstr>
      <vt:lpstr>PowerPoint Presentation</vt:lpstr>
    </vt:vector>
  </TitlesOfParts>
  <Company>National Gri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Board and Committee PowerPoint Draft Template</dc:title>
  <dc:creator>Saunders, Karen</dc:creator>
  <cp:lastModifiedBy>Kevin Hanson</cp:lastModifiedBy>
  <cp:revision>13</cp:revision>
  <cp:lastPrinted>2018-08-10T07:16:05Z</cp:lastPrinted>
  <dcterms:created xsi:type="dcterms:W3CDTF">2021-05-20T11:21:33Z</dcterms:created>
  <dcterms:modified xsi:type="dcterms:W3CDTF">2024-04-24T19:55:1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NewReviewCycle">
    <vt:lpwstr/>
  </property>
  <property fmtid="{D5CDD505-2E9C-101B-9397-08002B2CF9AE}" pid="3" name="ContentTypeId">
    <vt:lpwstr>0x0101007CC217B65CDFCE4CA575B84210C98C75</vt:lpwstr>
  </property>
  <property fmtid="{D5CDD505-2E9C-101B-9397-08002B2CF9AE}" pid="4" name="Order">
    <vt:r8>1775500</vt:r8>
  </property>
  <property fmtid="{D5CDD505-2E9C-101B-9397-08002B2CF9AE}" pid="5" name="xd_Signature">
    <vt:bool>false</vt:bool>
  </property>
  <property fmtid="{D5CDD505-2E9C-101B-9397-08002B2CF9AE}" pid="6" name="xd_ProgID">
    <vt:lpwstr/>
  </property>
  <property fmtid="{D5CDD505-2E9C-101B-9397-08002B2CF9AE}" pid="7" name="ComplianceAssetId">
    <vt:lpwstr/>
  </property>
  <property fmtid="{D5CDD505-2E9C-101B-9397-08002B2CF9AE}" pid="8" name="TemplateUrl">
    <vt:lpwstr/>
  </property>
  <property fmtid="{D5CDD505-2E9C-101B-9397-08002B2CF9AE}" pid="9" name="_dlc_policyId">
    <vt:lpwstr/>
  </property>
  <property fmtid="{D5CDD505-2E9C-101B-9397-08002B2CF9AE}" pid="10" name="ItemRetentionFormula">
    <vt:lpwstr/>
  </property>
  <property fmtid="{D5CDD505-2E9C-101B-9397-08002B2CF9AE}" pid="11" name="_dlc_DocIdItemGuid">
    <vt:lpwstr>d004208b-03c6-48b5-89f2-0b221f829cae</vt:lpwstr>
  </property>
  <property fmtid="{D5CDD505-2E9C-101B-9397-08002B2CF9AE}" pid="12" name="Business Areas">
    <vt:lpwstr>114;#Group Legal and Company Secretariat|fe1c60f5-cbc5-49d1-aea2-9bb3d35271af</vt:lpwstr>
  </property>
  <property fmtid="{D5CDD505-2E9C-101B-9397-08002B2CF9AE}" pid="13" name="Document Categories">
    <vt:lpwstr>58;#Template|bb203242-d1ea-4b7c-baec-f6b6c36ad46a</vt:lpwstr>
  </property>
  <property fmtid="{D5CDD505-2E9C-101B-9397-08002B2CF9AE}" pid="14" name="Topics">
    <vt:lpwstr>112;#About us|b902a50f-cfcc-411c-9d60-9078b33d113f</vt:lpwstr>
  </property>
  <property fmtid="{D5CDD505-2E9C-101B-9397-08002B2CF9AE}" pid="15" name="Locations">
    <vt:lpwstr>11;#United Kingdom|92f25aa8-55c2-40bf-9172-4a299f89b05a;#21;#United States|8fef47f8-cb6c-4de5-bc11-508784361bd5</vt:lpwstr>
  </property>
  <property fmtid="{D5CDD505-2E9C-101B-9397-08002B2CF9AE}" pid="16" name="MSIP_Label_7084cbda-52b8-46fb-a7b7-cb5bd465ed85_Enabled">
    <vt:lpwstr>true</vt:lpwstr>
  </property>
  <property fmtid="{D5CDD505-2E9C-101B-9397-08002B2CF9AE}" pid="17" name="MSIP_Label_7084cbda-52b8-46fb-a7b7-cb5bd465ed85_SetDate">
    <vt:lpwstr>2023-09-05T12:43:45Z</vt:lpwstr>
  </property>
  <property fmtid="{D5CDD505-2E9C-101B-9397-08002B2CF9AE}" pid="18" name="MSIP_Label_7084cbda-52b8-46fb-a7b7-cb5bd465ed85_Method">
    <vt:lpwstr>Standard</vt:lpwstr>
  </property>
  <property fmtid="{D5CDD505-2E9C-101B-9397-08002B2CF9AE}" pid="19" name="MSIP_Label_7084cbda-52b8-46fb-a7b7-cb5bd465ed85_Name">
    <vt:lpwstr>Internal</vt:lpwstr>
  </property>
  <property fmtid="{D5CDD505-2E9C-101B-9397-08002B2CF9AE}" pid="20" name="MSIP_Label_7084cbda-52b8-46fb-a7b7-cb5bd465ed85_SiteId">
    <vt:lpwstr>0afb747d-bff7-4596-a9fc-950ef9e0ec45</vt:lpwstr>
  </property>
  <property fmtid="{D5CDD505-2E9C-101B-9397-08002B2CF9AE}" pid="21" name="MSIP_Label_7084cbda-52b8-46fb-a7b7-cb5bd465ed85_ActionId">
    <vt:lpwstr>cfeb7e78-0b35-4957-8058-ba2536752d53</vt:lpwstr>
  </property>
  <property fmtid="{D5CDD505-2E9C-101B-9397-08002B2CF9AE}" pid="22" name="MSIP_Label_7084cbda-52b8-46fb-a7b7-cb5bd465ed85_ContentBits">
    <vt:lpwstr>0</vt:lpwstr>
  </property>
</Properties>
</file>